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12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Override13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4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15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1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18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19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20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21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Override22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Override23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24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Override25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Override26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Override27.xml" ContentType="application/vnd.openxmlformats-officedocument.themeOverride+xml"/>
  <Override PartName="/ppt/tags/tag101.xml" ContentType="application/vnd.openxmlformats-officedocument.presentationml.tags+xml"/>
  <Override PartName="/ppt/theme/themeOverride28.xml" ContentType="application/vnd.openxmlformats-officedocument.themeOverride+xml"/>
  <Override PartName="/ppt/tags/tag102.xml" ContentType="application/vnd.openxmlformats-officedocument.presentationml.tags+xml"/>
  <Override PartName="/ppt/theme/themeOverride29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Override30.xml" ContentType="application/vnd.openxmlformats-officedocument.themeOverr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Override31.xml" ContentType="application/vnd.openxmlformats-officedocument.themeOverride+xml"/>
  <Override PartName="/ppt/tags/tag1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268" r:id="rId4"/>
  </p:sldMasterIdLst>
  <p:notesMasterIdLst>
    <p:notesMasterId r:id="rId11"/>
  </p:notesMasterIdLst>
  <p:handoutMasterIdLst>
    <p:handoutMasterId r:id="rId12"/>
  </p:handoutMasterIdLst>
  <p:sldIdLst>
    <p:sldId id="1418" r:id="rId5"/>
    <p:sldId id="1419" r:id="rId6"/>
    <p:sldId id="1420" r:id="rId7"/>
    <p:sldId id="1421" r:id="rId8"/>
    <p:sldId id="1422" r:id="rId9"/>
    <p:sldId id="1423" r:id="rId10"/>
  </p:sldIdLst>
  <p:sldSz cx="12192000" cy="6858000"/>
  <p:notesSz cx="9918700" cy="6819900"/>
  <p:custShowLst>
    <p:custShow name="Format Guide Workshop" id="0">
      <p:sldLst/>
    </p:custShow>
  </p:custShow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лкин Сергей" initials="ХС" lastIdx="1" clrIdx="0"/>
  <p:cmAuthor id="2" name="Пацюк Иван" initials="ПИ" lastIdx="3" clrIdx="1">
    <p:extLst>
      <p:ext uri="{19B8F6BF-5375-455C-9EA6-DF929625EA0E}">
        <p15:presenceInfo xmlns:p15="http://schemas.microsoft.com/office/powerpoint/2012/main" userId="S::i.patsyuk@crpt.ru::1ba2f455-778e-485a-bd6f-0cb0c72e24a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595959"/>
    <a:srgbClr val="F2E900"/>
    <a:srgbClr val="FECD8C"/>
    <a:srgbClr val="212121"/>
    <a:srgbClr val="FAF7B4"/>
    <a:srgbClr val="000000"/>
    <a:srgbClr val="F2EB3B"/>
    <a:srgbClr val="FFE200"/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1" autoAdjust="0"/>
    <p:restoredTop sz="94118" autoAdjust="0"/>
  </p:normalViewPr>
  <p:slideViewPr>
    <p:cSldViewPr snapToGrid="0">
      <p:cViewPr varScale="1">
        <p:scale>
          <a:sx n="108" d="100"/>
          <a:sy n="108" d="100"/>
        </p:scale>
        <p:origin x="594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Штраусберг Виталина" userId="66dac635-6f73-4d2c-80ec-a34014330d8b" providerId="ADAL" clId="{3E561E0D-6B41-4FB2-9EF4-70FF0B06EB1B}"/>
    <pc:docChg chg="delSld">
      <pc:chgData name="Штраусберг Виталина" userId="66dac635-6f73-4d2c-80ec-a34014330d8b" providerId="ADAL" clId="{3E561E0D-6B41-4FB2-9EF4-70FF0B06EB1B}" dt="2020-08-24T08:59:55.932" v="19" actId="2696"/>
      <pc:docMkLst>
        <pc:docMk/>
      </pc:docMkLst>
      <pc:sldChg chg="del">
        <pc:chgData name="Штраусберг Виталина" userId="66dac635-6f73-4d2c-80ec-a34014330d8b" providerId="ADAL" clId="{3E561E0D-6B41-4FB2-9EF4-70FF0B06EB1B}" dt="2020-08-24T08:59:51.861" v="17" actId="2696"/>
        <pc:sldMkLst>
          <pc:docMk/>
          <pc:sldMk cId="0" sldId="256"/>
        </pc:sldMkLst>
      </pc:sldChg>
      <pc:sldChg chg="del">
        <pc:chgData name="Штраусберг Виталина" userId="66dac635-6f73-4d2c-80ec-a34014330d8b" providerId="ADAL" clId="{3E561E0D-6B41-4FB2-9EF4-70FF0B06EB1B}" dt="2020-08-24T08:59:54.241" v="18" actId="2696"/>
        <pc:sldMkLst>
          <pc:docMk/>
          <pc:sldMk cId="1240356309" sldId="257"/>
        </pc:sldMkLst>
      </pc:sldChg>
      <pc:sldChg chg="del">
        <pc:chgData name="Штраусберг Виталина" userId="66dac635-6f73-4d2c-80ec-a34014330d8b" providerId="ADAL" clId="{3E561E0D-6B41-4FB2-9EF4-70FF0B06EB1B}" dt="2020-08-24T08:59:55.932" v="19" actId="2696"/>
        <pc:sldMkLst>
          <pc:docMk/>
          <pc:sldMk cId="1763658478" sldId="676"/>
        </pc:sldMkLst>
      </pc:sldChg>
      <pc:sldChg chg="del">
        <pc:chgData name="Штраусберг Виталина" userId="66dac635-6f73-4d2c-80ec-a34014330d8b" providerId="ADAL" clId="{3E561E0D-6B41-4FB2-9EF4-70FF0B06EB1B}" dt="2020-08-24T08:59:35.295" v="0" actId="2696"/>
        <pc:sldMkLst>
          <pc:docMk/>
          <pc:sldMk cId="1777786405" sldId="1373"/>
        </pc:sldMkLst>
      </pc:sldChg>
      <pc:sldChg chg="del">
        <pc:chgData name="Штраусберг Виталина" userId="66dac635-6f73-4d2c-80ec-a34014330d8b" providerId="ADAL" clId="{3E561E0D-6B41-4FB2-9EF4-70FF0B06EB1B}" dt="2020-08-24T08:59:44.495" v="6" actId="2696"/>
        <pc:sldMkLst>
          <pc:docMk/>
          <pc:sldMk cId="302412566" sldId="1387"/>
        </pc:sldMkLst>
      </pc:sldChg>
      <pc:sldChg chg="del">
        <pc:chgData name="Штраусберг Виталина" userId="66dac635-6f73-4d2c-80ec-a34014330d8b" providerId="ADAL" clId="{3E561E0D-6B41-4FB2-9EF4-70FF0B06EB1B}" dt="2020-08-24T08:59:51.732" v="12" actId="2696"/>
        <pc:sldMkLst>
          <pc:docMk/>
          <pc:sldMk cId="1407202695" sldId="1390"/>
        </pc:sldMkLst>
      </pc:sldChg>
      <pc:sldChg chg="del">
        <pc:chgData name="Штраусберг Виталина" userId="66dac635-6f73-4d2c-80ec-a34014330d8b" providerId="ADAL" clId="{3E561E0D-6B41-4FB2-9EF4-70FF0B06EB1B}" dt="2020-08-24T08:59:35.341" v="1" actId="2696"/>
        <pc:sldMkLst>
          <pc:docMk/>
          <pc:sldMk cId="1421018012" sldId="1413"/>
        </pc:sldMkLst>
      </pc:sldChg>
      <pc:sldChg chg="del">
        <pc:chgData name="Штраусберг Виталина" userId="66dac635-6f73-4d2c-80ec-a34014330d8b" providerId="ADAL" clId="{3E561E0D-6B41-4FB2-9EF4-70FF0B06EB1B}" dt="2020-08-24T08:59:35.375" v="3" actId="2696"/>
        <pc:sldMkLst>
          <pc:docMk/>
          <pc:sldMk cId="543833719" sldId="1414"/>
        </pc:sldMkLst>
      </pc:sldChg>
      <pc:sldChg chg="del">
        <pc:chgData name="Штраусберг Виталина" userId="66dac635-6f73-4d2c-80ec-a34014330d8b" providerId="ADAL" clId="{3E561E0D-6B41-4FB2-9EF4-70FF0B06EB1B}" dt="2020-08-24T08:59:35.401" v="4" actId="2696"/>
        <pc:sldMkLst>
          <pc:docMk/>
          <pc:sldMk cId="63874381" sldId="1415"/>
        </pc:sldMkLst>
      </pc:sldChg>
      <pc:sldChg chg="del">
        <pc:chgData name="Штраусберг Виталина" userId="66dac635-6f73-4d2c-80ec-a34014330d8b" providerId="ADAL" clId="{3E561E0D-6B41-4FB2-9EF4-70FF0B06EB1B}" dt="2020-08-24T08:59:38.036" v="5" actId="2696"/>
        <pc:sldMkLst>
          <pc:docMk/>
          <pc:sldMk cId="1321736395" sldId="1416"/>
        </pc:sldMkLst>
      </pc:sldChg>
      <pc:sldChg chg="del">
        <pc:chgData name="Штраусберг Виталина" userId="66dac635-6f73-4d2c-80ec-a34014330d8b" providerId="ADAL" clId="{3E561E0D-6B41-4FB2-9EF4-70FF0B06EB1B}" dt="2020-08-24T08:59:51.696" v="10" actId="2696"/>
        <pc:sldMkLst>
          <pc:docMk/>
          <pc:sldMk cId="773146056" sldId="1424"/>
        </pc:sldMkLst>
      </pc:sldChg>
      <pc:sldChg chg="del">
        <pc:chgData name="Штраусберг Виталина" userId="66dac635-6f73-4d2c-80ec-a34014330d8b" providerId="ADAL" clId="{3E561E0D-6B41-4FB2-9EF4-70FF0B06EB1B}" dt="2020-08-24T08:59:51.765" v="13" actId="2696"/>
        <pc:sldMkLst>
          <pc:docMk/>
          <pc:sldMk cId="2534428302" sldId="1425"/>
        </pc:sldMkLst>
      </pc:sldChg>
      <pc:sldChg chg="del">
        <pc:chgData name="Штраусберг Виталина" userId="66dac635-6f73-4d2c-80ec-a34014330d8b" providerId="ADAL" clId="{3E561E0D-6B41-4FB2-9EF4-70FF0B06EB1B}" dt="2020-08-24T08:59:51.833" v="15" actId="2696"/>
        <pc:sldMkLst>
          <pc:docMk/>
          <pc:sldMk cId="3845633284" sldId="1426"/>
        </pc:sldMkLst>
      </pc:sldChg>
      <pc:sldChg chg="del">
        <pc:chgData name="Штраусберг Виталина" userId="66dac635-6f73-4d2c-80ec-a34014330d8b" providerId="ADAL" clId="{3E561E0D-6B41-4FB2-9EF4-70FF0B06EB1B}" dt="2020-08-24T08:59:51.856" v="16" actId="2696"/>
        <pc:sldMkLst>
          <pc:docMk/>
          <pc:sldMk cId="2082053064" sldId="1427"/>
        </pc:sldMkLst>
      </pc:sldChg>
      <pc:sldChg chg="del">
        <pc:chgData name="Штраусберг Виталина" userId="66dac635-6f73-4d2c-80ec-a34014330d8b" providerId="ADAL" clId="{3E561E0D-6B41-4FB2-9EF4-70FF0B06EB1B}" dt="2020-08-24T08:59:51.809" v="14" actId="2696"/>
        <pc:sldMkLst>
          <pc:docMk/>
          <pc:sldMk cId="309921125" sldId="1428"/>
        </pc:sldMkLst>
      </pc:sldChg>
      <pc:sldChg chg="del">
        <pc:chgData name="Штраусберг Виталина" userId="66dac635-6f73-4d2c-80ec-a34014330d8b" providerId="ADAL" clId="{3E561E0D-6B41-4FB2-9EF4-70FF0B06EB1B}" dt="2020-08-24T08:59:51.680" v="7" actId="2696"/>
        <pc:sldMkLst>
          <pc:docMk/>
          <pc:sldMk cId="3641508458" sldId="1429"/>
        </pc:sldMkLst>
      </pc:sldChg>
      <pc:sldChg chg="del">
        <pc:chgData name="Штраусберг Виталина" userId="66dac635-6f73-4d2c-80ec-a34014330d8b" providerId="ADAL" clId="{3E561E0D-6B41-4FB2-9EF4-70FF0B06EB1B}" dt="2020-08-24T08:59:51.685" v="8" actId="2696"/>
        <pc:sldMkLst>
          <pc:docMk/>
          <pc:sldMk cId="1100170135" sldId="1430"/>
        </pc:sldMkLst>
      </pc:sldChg>
      <pc:sldChg chg="del">
        <pc:chgData name="Штраусберг Виталина" userId="66dac635-6f73-4d2c-80ec-a34014330d8b" providerId="ADAL" clId="{3E561E0D-6B41-4FB2-9EF4-70FF0B06EB1B}" dt="2020-08-24T08:59:51.691" v="9" actId="2696"/>
        <pc:sldMkLst>
          <pc:docMk/>
          <pc:sldMk cId="2578185935" sldId="1431"/>
        </pc:sldMkLst>
      </pc:sldChg>
      <pc:sldChg chg="del">
        <pc:chgData name="Штраусберг Виталина" userId="66dac635-6f73-4d2c-80ec-a34014330d8b" providerId="ADAL" clId="{3E561E0D-6B41-4FB2-9EF4-70FF0B06EB1B}" dt="2020-08-24T08:59:51.711" v="11" actId="2696"/>
        <pc:sldMkLst>
          <pc:docMk/>
          <pc:sldMk cId="3858135356" sldId="1432"/>
        </pc:sldMkLst>
      </pc:sldChg>
      <pc:sldChg chg="del">
        <pc:chgData name="Штраусберг Виталина" userId="66dac635-6f73-4d2c-80ec-a34014330d8b" providerId="ADAL" clId="{3E561E0D-6B41-4FB2-9EF4-70FF0B06EB1B}" dt="2020-08-24T08:59:35.360" v="2" actId="2696"/>
        <pc:sldMkLst>
          <pc:docMk/>
          <pc:sldMk cId="1314489666" sldId="143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8372591006424E-2"/>
          <c:y val="8.7837837837837843E-2"/>
          <c:w val="0.94432548179871523"/>
          <c:h val="0.8243243243243243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BE60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810810810810811"/>
                </c:manualLayout>
              </c:layout>
              <c:tx>
                <c:rich>
                  <a:bodyPr wrap="none"/>
                  <a:lstStyle/>
                  <a:p>
                    <a:pPr>
                      <a:defRPr sz="100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1759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894-412D-ABC1-5A531146BA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94-412D-ABC1-5A531146BA28}"/>
            </c:ext>
          </c:extLst>
        </c:ser>
        <c:ser>
          <c:idx val="1"/>
          <c:order val="1"/>
          <c:spPr>
            <a:solidFill>
              <a:srgbClr val="88888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8716216216216218E-2"/>
                </c:manualLayout>
              </c:layout>
              <c:tx>
                <c:rich>
                  <a:bodyPr wrap="none"/>
                  <a:lstStyle/>
                  <a:p>
                    <a:pPr>
                      <a:defRPr sz="100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327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894-412D-ABC1-5A531146BA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94-412D-ABC1-5A531146BA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282438904"/>
        <c:axId val="1282443216"/>
      </c:barChart>
      <c:catAx>
        <c:axId val="12824389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282443216"/>
        <c:crosses val="min"/>
        <c:auto val="0"/>
        <c:lblAlgn val="ctr"/>
        <c:lblOffset val="100"/>
        <c:noMultiLvlLbl val="0"/>
      </c:catAx>
      <c:valAx>
        <c:axId val="1282443216"/>
        <c:scaling>
          <c:orientation val="minMax"/>
          <c:max val="7870.39269406392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24389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069234773555439E-2"/>
          <c:y val="8.7837837837837843E-2"/>
          <c:w val="0.94586153045288912"/>
          <c:h val="0.8243243243243243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BE60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3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00-4B9D-868C-3DEB6E5648EE}"/>
            </c:ext>
          </c:extLst>
        </c:ser>
        <c:ser>
          <c:idx val="1"/>
          <c:order val="1"/>
          <c:spPr>
            <a:solidFill>
              <a:srgbClr val="88888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9898648648648651"/>
                </c:manualLayout>
              </c:layout>
              <c:tx>
                <c:rich>
                  <a:bodyPr wrap="none"/>
                  <a:lstStyle/>
                  <a:p>
                    <a:pPr>
                      <a:defRPr sz="100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2671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DB00-4B9D-868C-3DEB6E5648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8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00-4B9D-868C-3DEB6E5648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282440080"/>
        <c:axId val="1282440472"/>
      </c:barChart>
      <c:catAx>
        <c:axId val="1282440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282440472"/>
        <c:crosses val="min"/>
        <c:auto val="0"/>
        <c:lblAlgn val="ctr"/>
        <c:lblOffset val="100"/>
        <c:noMultiLvlLbl val="0"/>
      </c:catAx>
      <c:valAx>
        <c:axId val="1282440472"/>
        <c:scaling>
          <c:orientation val="minMax"/>
          <c:max val="7870.392694063928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2440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266219239373602E-2"/>
          <c:y val="8.7837837837837843E-2"/>
          <c:w val="0.95346756152125278"/>
          <c:h val="0.8243243243243243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BE60E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9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9A-483B-991E-DC6FBEE840CE}"/>
            </c:ext>
          </c:extLst>
        </c:ser>
        <c:ser>
          <c:idx val="1"/>
          <c:order val="1"/>
          <c:spPr>
            <a:solidFill>
              <a:srgbClr val="888888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0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9A-483B-991E-DC6FBEE840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282387160"/>
        <c:axId val="1282377360"/>
      </c:barChart>
      <c:catAx>
        <c:axId val="1282387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282377360"/>
        <c:crosses val="min"/>
        <c:auto val="0"/>
        <c:lblAlgn val="ctr"/>
        <c:lblOffset val="100"/>
        <c:noMultiLvlLbl val="0"/>
      </c:catAx>
      <c:valAx>
        <c:axId val="1282377360"/>
        <c:scaling>
          <c:orientation val="minMax"/>
          <c:max val="4571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82387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544</cdr:x>
      <cdr:y>0.41532</cdr:y>
    </cdr:from>
    <cdr:to>
      <cdr:x>0.63252</cdr:x>
      <cdr:y>0.71006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id="{CE73B9D3-9B0F-438F-AEB5-EEFD75288C62}"/>
            </a:ext>
          </a:extLst>
        </cdr:cNvPr>
        <cdr:cNvSpPr/>
      </cdr:nvSpPr>
      <cdr:spPr>
        <a:xfrm xmlns:a="http://schemas.openxmlformats.org/drawingml/2006/main">
          <a:off x="1054046" y="390315"/>
          <a:ext cx="821673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>
              <a:solidFill>
                <a:srgbClr val="00B050"/>
              </a:solidFill>
              <a:latin typeface="PT Sans" panose="020B0503020203020204" pitchFamily="34" charset="0"/>
            </a:rPr>
            <a:t>+ 23</a:t>
          </a:r>
          <a:endParaRPr lang="ru-RU" sz="1200" dirty="0">
            <a:solidFill>
              <a:srgbClr val="00B05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4298103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18306" y="4"/>
            <a:ext cx="4298103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28/2020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6477723"/>
            <a:ext cx="4298103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18306" y="6477723"/>
            <a:ext cx="4298103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305622"/>
            <a:ext cx="9916405" cy="1514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635" y="4"/>
            <a:ext cx="4180471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18305" y="4"/>
            <a:ext cx="4182764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fld id="{3AD9BDA7-98EF-4344-B91C-30A07E8A84B0}" type="datetimeFigureOut">
              <a:rPr lang="en-US" smtClean="0"/>
              <a:pPr/>
              <a:t>8/2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4988" y="204788"/>
            <a:ext cx="8848725" cy="49784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223" y="5388026"/>
            <a:ext cx="9652258" cy="661793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635" y="6477723"/>
            <a:ext cx="4180471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18307" y="6477723"/>
            <a:ext cx="4167175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49" userDrawn="1">
          <p15:clr>
            <a:srgbClr val="F26B43"/>
          </p15:clr>
        </p15:guide>
        <p15:guide id="2" pos="312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862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1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3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9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8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3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244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  <p:pic>
        <p:nvPicPr>
          <p:cNvPr id="9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379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1812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23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514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026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71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8664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5246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9918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74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3464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4123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836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24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9653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8586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2896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49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433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381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977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216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10933201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471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297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28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3222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85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9500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489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519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13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645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01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550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17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758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051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791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16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115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56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105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0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60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158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98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97569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995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15342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28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2609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0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9A9A9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0460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46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4633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6070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7545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768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234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2641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8737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1599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769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399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5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800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917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91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212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0884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025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450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48604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4803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485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1991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0016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161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699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39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8190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9961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4722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761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55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43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519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98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3149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9071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17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33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7522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12354" y="1115416"/>
            <a:ext cx="2483372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15972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6150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222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3940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507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70018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1390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883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2712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7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40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090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61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1691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8669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8376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365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0991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090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0177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73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7654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76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059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478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vmlDrawing" Target="../drawings/vmlDrawing1.v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306488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63531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9" r:id="rId1"/>
    <p:sldLayoutId id="2147485280" r:id="rId2"/>
    <p:sldLayoutId id="2147485281" r:id="rId3"/>
    <p:sldLayoutId id="2147485282" r:id="rId4"/>
    <p:sldLayoutId id="2147485283" r:id="rId5"/>
    <p:sldLayoutId id="2147485284" r:id="rId6"/>
    <p:sldLayoutId id="2147485285" r:id="rId7"/>
    <p:sldLayoutId id="2147485286" r:id="rId8"/>
    <p:sldLayoutId id="2147485287" r:id="rId9"/>
    <p:sldLayoutId id="2147485288" r:id="rId10"/>
    <p:sldLayoutId id="2147485289" r:id="rId11"/>
    <p:sldLayoutId id="2147485290" r:id="rId12"/>
    <p:sldLayoutId id="2147485291" r:id="rId13"/>
    <p:sldLayoutId id="2147485292" r:id="rId14"/>
    <p:sldLayoutId id="2147485293" r:id="rId15"/>
    <p:sldLayoutId id="2147485294" r:id="rId16"/>
    <p:sldLayoutId id="2147485295" r:id="rId17"/>
    <p:sldLayoutId id="2147485296" r:id="rId18"/>
    <p:sldLayoutId id="2147485297" r:id="rId19"/>
    <p:sldLayoutId id="2147485298" r:id="rId20"/>
    <p:sldLayoutId id="2147485300" r:id="rId21"/>
    <p:sldLayoutId id="2147485301" r:id="rId22"/>
    <p:sldLayoutId id="2147485302" r:id="rId23"/>
    <p:sldLayoutId id="2147485303" r:id="rId24"/>
    <p:sldLayoutId id="2147485304" r:id="rId25"/>
    <p:sldLayoutId id="2147485306" r:id="rId26"/>
    <p:sldLayoutId id="2147485307" r:id="rId27"/>
    <p:sldLayoutId id="2147485308" r:id="rId28"/>
    <p:sldLayoutId id="2147485309" r:id="rId29"/>
    <p:sldLayoutId id="2147485310" r:id="rId30"/>
    <p:sldLayoutId id="2147485311" r:id="rId31"/>
    <p:sldLayoutId id="2147485312" r:id="rId32"/>
    <p:sldLayoutId id="2147485313" r:id="rId33"/>
    <p:sldLayoutId id="2147485314" r:id="rId34"/>
    <p:sldLayoutId id="2147485315" r:id="rId35"/>
    <p:sldLayoutId id="2147485316" r:id="rId36"/>
    <p:sldLayoutId id="2147485317" r:id="rId37"/>
    <p:sldLayoutId id="2147485318" r:id="rId38"/>
    <p:sldLayoutId id="2147485319" r:id="rId39"/>
    <p:sldLayoutId id="2147485320" r:id="rId40"/>
    <p:sldLayoutId id="2147485321" r:id="rId41"/>
    <p:sldLayoutId id="2147485322" r:id="rId42"/>
    <p:sldLayoutId id="2147485323" r:id="rId43"/>
    <p:sldLayoutId id="2147485324" r:id="rId44"/>
    <p:sldLayoutId id="2147485325" r:id="rId45"/>
    <p:sldLayoutId id="2147485327" r:id="rId46"/>
    <p:sldLayoutId id="2147485328" r:id="rId47"/>
    <p:sldLayoutId id="2147485329" r:id="rId48"/>
    <p:sldLayoutId id="2147485330" r:id="rId49"/>
    <p:sldLayoutId id="2147485332" r:id="rId50"/>
    <p:sldLayoutId id="2147485333" r:id="rId51"/>
    <p:sldLayoutId id="2147485334" r:id="rId52"/>
    <p:sldLayoutId id="2147485335" r:id="rId53"/>
    <p:sldLayoutId id="2147485336" r:id="rId54"/>
    <p:sldLayoutId id="2147485337" r:id="rId55"/>
    <p:sldLayoutId id="2147485338" r:id="rId56"/>
    <p:sldLayoutId id="2147485339" r:id="rId57"/>
    <p:sldLayoutId id="2147485340" r:id="rId58"/>
    <p:sldLayoutId id="2147485341" r:id="rId5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26" Type="http://schemas.openxmlformats.org/officeDocument/2006/relationships/oleObject" Target="../embeddings/oleObject61.bin"/><Relationship Id="rId3" Type="http://schemas.openxmlformats.org/officeDocument/2006/relationships/tags" Target="../tags/tag113.xml"/><Relationship Id="rId21" Type="http://schemas.openxmlformats.org/officeDocument/2006/relationships/tags" Target="../tags/tag131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5" Type="http://schemas.openxmlformats.org/officeDocument/2006/relationships/notesSlide" Target="../notesSlides/notesSlide1.xml"/><Relationship Id="rId2" Type="http://schemas.openxmlformats.org/officeDocument/2006/relationships/tags" Target="../tags/tag112.xml"/><Relationship Id="rId16" Type="http://schemas.openxmlformats.org/officeDocument/2006/relationships/tags" Target="../tags/tag126.xml"/><Relationship Id="rId20" Type="http://schemas.openxmlformats.org/officeDocument/2006/relationships/tags" Target="../tags/tag130.xml"/><Relationship Id="rId29" Type="http://schemas.openxmlformats.org/officeDocument/2006/relationships/chart" Target="../charts/chart2.xml"/><Relationship Id="rId1" Type="http://schemas.openxmlformats.org/officeDocument/2006/relationships/vmlDrawing" Target="../drawings/vmlDrawing61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slideLayout" Target="../slideLayouts/slideLayout26.xml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23" Type="http://schemas.openxmlformats.org/officeDocument/2006/relationships/tags" Target="../tags/tag133.xml"/><Relationship Id="rId28" Type="http://schemas.openxmlformats.org/officeDocument/2006/relationships/chart" Target="../charts/chart1.xml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tags" Target="../tags/tag132.xml"/><Relationship Id="rId27" Type="http://schemas.openxmlformats.org/officeDocument/2006/relationships/image" Target="../media/image11.emf"/><Relationship Id="rId30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image" Target="../media/image12.emf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oleObject" Target="../embeddings/oleObject62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62.vml"/><Relationship Id="rId6" Type="http://schemas.openxmlformats.org/officeDocument/2006/relationships/tags" Target="../tags/tag138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oleObject" Target="../embeddings/oleObject63.bin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slideLayout" Target="../slideLayouts/slideLayout2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63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oleObject" Target="../embeddings/oleObject64.bin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slideLayout" Target="../slideLayouts/slideLayout26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64.v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Relationship Id="rId1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slideLayout" Target="../slideLayouts/slideLayout26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65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5" Type="http://schemas.openxmlformats.org/officeDocument/2006/relationships/image" Target="../media/image12.emf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oleObject" Target="../embeddings/oleObject6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Layout" Target="../slideLayouts/slideLayout26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66.v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5" Type="http://schemas.openxmlformats.org/officeDocument/2006/relationships/image" Target="../media/image12.emf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oleObject" Target="../embeddings/oleObject6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ED6F33-C33E-4F74-9DC6-C119C45375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4" name="think-cell Slide" r:id="rId26" imgW="592" imgH="591" progId="TCLayout.ActiveDocument.1">
                  <p:embed/>
                </p:oleObj>
              </mc:Choice>
              <mc:Fallback>
                <p:oleObj name="think-cell Slide" r:id="rId2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ED6F33-C33E-4F74-9DC6-C119C4537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61A0A1-2E82-4DCC-B556-C988B4B40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>
              <a:solidFill>
                <a:srgbClr val="FFFFFF"/>
              </a:solidFill>
              <a:latin typeface="PT Sans Caption" panose="020B0603020203020204"/>
              <a:sym typeface="PT Sans Caption" panose="020B0603020203020204"/>
            </a:endParaRPr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D34A0F8B-DDF0-4DA5-9E6D-2A7CBAAF6B8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285413" y="5072533"/>
            <a:ext cx="434975" cy="16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+mn-lt"/>
                <a:sym typeface="+mn-lt"/>
              </a:rPr>
              <a:t>3</a:t>
            </a:r>
            <a:r>
              <a:rPr lang="ru-RU" sz="1000" dirty="0">
                <a:latin typeface="+mn-lt"/>
                <a:sym typeface="+mn-lt"/>
              </a:rPr>
              <a:t>7 585</a:t>
            </a:r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152" name="Text Placeholder 3">
            <a:extLst>
              <a:ext uri="{FF2B5EF4-FFF2-40B4-BE49-F238E27FC236}">
                <a16:creationId xmlns:a16="http://schemas.microsoft.com/office/drawing/2014/main" id="{BEA65494-5DC7-4AA3-B977-D834F70B921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011443" y="4979987"/>
            <a:ext cx="4349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latin typeface="+mn-lt"/>
                <a:sym typeface="+mn-lt"/>
              </a:rPr>
              <a:t>5</a:t>
            </a:r>
            <a:r>
              <a:rPr lang="ru-RU" sz="1000" dirty="0">
                <a:latin typeface="+mn-lt"/>
                <a:sym typeface="+mn-lt"/>
              </a:rPr>
              <a:t>1 742</a:t>
            </a:r>
            <a:endParaRPr lang="en-US" sz="1000" dirty="0">
              <a:latin typeface="+mn-lt"/>
              <a:sym typeface="+mn-lt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54F86E2-4F92-47A4-9029-64484612E408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995738" y="2886229"/>
            <a:ext cx="912813" cy="912813"/>
            <a:chOff x="6096000" y="3429000"/>
            <a:chExt cx="269875" cy="269875"/>
          </a:xfrm>
        </p:grpSpPr>
        <p:sp>
          <p:nvSpPr>
            <p:cNvPr id="66" name="background">
              <a:extLst>
                <a:ext uri="{FF2B5EF4-FFF2-40B4-BE49-F238E27FC236}">
                  <a16:creationId xmlns:a16="http://schemas.microsoft.com/office/drawing/2014/main" id="{66776A32-36C4-4967-A6A8-1D08ACCAE60D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7" name="arc">
              <a:extLst>
                <a:ext uri="{FF2B5EF4-FFF2-40B4-BE49-F238E27FC236}">
                  <a16:creationId xmlns:a16="http://schemas.microsoft.com/office/drawing/2014/main" id="{7F884042-57B8-43F9-8E73-CDBA4F76430A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12224283"/>
              </a:avLst>
            </a:prstGeom>
            <a:solidFill>
              <a:srgbClr val="595959">
                <a:lumMod val="100000"/>
              </a:srgbClr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8" name="circle">
              <a:extLst>
                <a:ext uri="{FF2B5EF4-FFF2-40B4-BE49-F238E27FC236}">
                  <a16:creationId xmlns:a16="http://schemas.microsoft.com/office/drawing/2014/main" id="{54DA3D21-9AFC-478F-87DA-938878B5148D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009F06F-79AB-40E0-9EE9-41B3B92BED0D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629999" y="2886228"/>
            <a:ext cx="913116" cy="913116"/>
            <a:chOff x="6096000" y="3429000"/>
            <a:chExt cx="269875" cy="269875"/>
          </a:xfrm>
        </p:grpSpPr>
        <p:sp>
          <p:nvSpPr>
            <p:cNvPr id="61" name="background">
              <a:extLst>
                <a:ext uri="{FF2B5EF4-FFF2-40B4-BE49-F238E27FC236}">
                  <a16:creationId xmlns:a16="http://schemas.microsoft.com/office/drawing/2014/main" id="{B238BC49-8E31-4282-B974-AE1BAC30CFED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2" name="arc">
              <a:extLst>
                <a:ext uri="{FF2B5EF4-FFF2-40B4-BE49-F238E27FC236}">
                  <a16:creationId xmlns:a16="http://schemas.microsoft.com/office/drawing/2014/main" id="{484927EB-C0F0-4214-8600-2C3709AB774C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11213279"/>
              </a:avLst>
            </a:prstGeom>
            <a:solidFill>
              <a:srgbClr val="595959">
                <a:lumMod val="100000"/>
              </a:srgbClr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3" name="circle">
              <a:extLst>
                <a:ext uri="{FF2B5EF4-FFF2-40B4-BE49-F238E27FC236}">
                  <a16:creationId xmlns:a16="http://schemas.microsoft.com/office/drawing/2014/main" id="{B4466698-0213-4775-B33C-1A420F5060CE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C07E138-83CF-46DC-AFB0-CE005B4FD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552" y="245452"/>
            <a:ext cx="11762913" cy="664797"/>
          </a:xfrm>
        </p:spPr>
        <p:txBody>
          <a:bodyPr/>
          <a:lstStyle/>
          <a:p>
            <a:r>
              <a:rPr lang="ru-RU" sz="3200" dirty="0">
                <a:latin typeface="PT Sans" panose="020B0503020203020204" pitchFamily="34" charset="0"/>
              </a:rPr>
              <a:t>Логистика и отпуск: доля действующих зарегистрированных организаций по виду деятельности (по состоянию на 24.08.2020)</a:t>
            </a:r>
            <a:endParaRPr lang="en-US" sz="3200" dirty="0">
              <a:latin typeface="PT Sans" panose="020B0503020203020204" pitchFamily="34" charset="0"/>
            </a:endParaRPr>
          </a:p>
        </p:txBody>
      </p:sp>
      <p:sp>
        <p:nvSpPr>
          <p:cNvPr id="36" name="Oval 10">
            <a:extLst>
              <a:ext uri="{FF2B5EF4-FFF2-40B4-BE49-F238E27FC236}">
                <a16:creationId xmlns:a16="http://schemas.microsoft.com/office/drawing/2014/main" id="{8F3CCF14-6261-429A-B84E-C1A9D4BD3A44}"/>
              </a:ext>
            </a:extLst>
          </p:cNvPr>
          <p:cNvSpPr>
            <a:spLocks noChangeAspect="1"/>
          </p:cNvSpPr>
          <p:nvPr/>
        </p:nvSpPr>
        <p:spPr>
          <a:xfrm>
            <a:off x="629999" y="1898239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 086</a:t>
            </a:r>
            <a:r>
              <a:rPr lang="ru-RU" sz="1400" b="1" kern="0" baseline="30000" dirty="0">
                <a:solidFill>
                  <a:srgbClr val="595959"/>
                </a:solidFill>
                <a:latin typeface="PT Sans Caption" panose="020B0603020203020204" charset="0"/>
              </a:rPr>
              <a:t>1</a:t>
            </a:r>
            <a:endParaRPr lang="en-US" sz="1400" b="1" kern="0" baseline="3000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37" name="Oval 10">
            <a:extLst>
              <a:ext uri="{FF2B5EF4-FFF2-40B4-BE49-F238E27FC236}">
                <a16:creationId xmlns:a16="http://schemas.microsoft.com/office/drawing/2014/main" id="{8EC7E1B6-3ED1-4F02-9445-6156198A9447}"/>
              </a:ext>
            </a:extLst>
          </p:cNvPr>
          <p:cNvSpPr>
            <a:spLocks noChangeAspect="1"/>
          </p:cNvSpPr>
          <p:nvPr/>
        </p:nvSpPr>
        <p:spPr>
          <a:xfrm>
            <a:off x="8163890" y="1898240"/>
            <a:ext cx="912813" cy="912813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89 327</a:t>
            </a:r>
            <a:r>
              <a:rPr lang="ru-RU" sz="1400" b="1" kern="0" baseline="30000" dirty="0">
                <a:solidFill>
                  <a:srgbClr val="595959"/>
                </a:solidFill>
                <a:latin typeface="PT Sans Caption" panose="020B0603020203020204" charset="0"/>
              </a:rPr>
              <a:t>3</a:t>
            </a:r>
            <a:endParaRPr lang="en-US" sz="1400" b="1" kern="0" baseline="3000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38" name="Oval 10">
            <a:extLst>
              <a:ext uri="{FF2B5EF4-FFF2-40B4-BE49-F238E27FC236}">
                <a16:creationId xmlns:a16="http://schemas.microsoft.com/office/drawing/2014/main" id="{55411E5E-B770-4F82-A3E4-63523EDF074E}"/>
              </a:ext>
            </a:extLst>
          </p:cNvPr>
          <p:cNvSpPr>
            <a:spLocks noChangeAspect="1"/>
          </p:cNvSpPr>
          <p:nvPr/>
        </p:nvSpPr>
        <p:spPr>
          <a:xfrm>
            <a:off x="3995738" y="1898240"/>
            <a:ext cx="912813" cy="912813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5 855</a:t>
            </a:r>
            <a:r>
              <a:rPr lang="ru-RU" sz="1400" b="1" kern="0" baseline="30000" dirty="0">
                <a:solidFill>
                  <a:srgbClr val="595959"/>
                </a:solidFill>
                <a:latin typeface="PT Sans Caption" panose="020B0603020203020204" charset="0"/>
              </a:rPr>
              <a:t>2</a:t>
            </a:r>
            <a:endParaRPr lang="en-US" sz="1400" b="1" kern="0" baseline="3000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45" name="Oval 10">
            <a:extLst>
              <a:ext uri="{FF2B5EF4-FFF2-40B4-BE49-F238E27FC236}">
                <a16:creationId xmlns:a16="http://schemas.microsoft.com/office/drawing/2014/main" id="{C4BEC203-CC5E-4E83-A721-CE286BB73F92}"/>
              </a:ext>
            </a:extLst>
          </p:cNvPr>
          <p:cNvSpPr>
            <a:spLocks noChangeAspect="1"/>
          </p:cNvSpPr>
          <p:nvPr/>
        </p:nvSpPr>
        <p:spPr>
          <a:xfrm>
            <a:off x="695543" y="2951772"/>
            <a:ext cx="782028" cy="782028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84</a:t>
            </a: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%</a:t>
            </a:r>
          </a:p>
        </p:txBody>
      </p:sp>
      <p:sp>
        <p:nvSpPr>
          <p:cNvPr id="47" name="Oval 10">
            <a:extLst>
              <a:ext uri="{FF2B5EF4-FFF2-40B4-BE49-F238E27FC236}">
                <a16:creationId xmlns:a16="http://schemas.microsoft.com/office/drawing/2014/main" id="{B5D78B20-B076-4DEE-A388-13E0C00DA7B5}"/>
              </a:ext>
            </a:extLst>
          </p:cNvPr>
          <p:cNvSpPr>
            <a:spLocks noChangeAspect="1"/>
          </p:cNvSpPr>
          <p:nvPr/>
        </p:nvSpPr>
        <p:spPr>
          <a:xfrm>
            <a:off x="4060825" y="2951772"/>
            <a:ext cx="782638" cy="782638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83</a:t>
            </a: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%</a:t>
            </a:r>
          </a:p>
        </p:txBody>
      </p:sp>
      <p:sp>
        <p:nvSpPr>
          <p:cNvPr id="10" name="ee4pHeader1">
            <a:extLst>
              <a:ext uri="{FF2B5EF4-FFF2-40B4-BE49-F238E27FC236}">
                <a16:creationId xmlns:a16="http://schemas.microsoft.com/office/drawing/2014/main" id="{077EAA0E-1ECB-42A9-8757-4608B64D2F8F}"/>
              </a:ext>
            </a:extLst>
          </p:cNvPr>
          <p:cNvSpPr txBox="1"/>
          <p:nvPr/>
        </p:nvSpPr>
        <p:spPr>
          <a:xfrm>
            <a:off x="629999" y="1547309"/>
            <a:ext cx="2371842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0"/>
              </a:rPr>
              <a:t>Дистрибьютеры</a:t>
            </a:r>
          </a:p>
        </p:txBody>
      </p:sp>
      <p:sp>
        <p:nvSpPr>
          <p:cNvPr id="11" name="ee4pHeader2">
            <a:extLst>
              <a:ext uri="{FF2B5EF4-FFF2-40B4-BE49-F238E27FC236}">
                <a16:creationId xmlns:a16="http://schemas.microsoft.com/office/drawing/2014/main" id="{57EFA99C-199A-4FA5-98BD-992374974118}"/>
              </a:ext>
            </a:extLst>
          </p:cNvPr>
          <p:cNvSpPr txBox="1"/>
          <p:nvPr/>
        </p:nvSpPr>
        <p:spPr>
          <a:xfrm>
            <a:off x="4186238" y="1547309"/>
            <a:ext cx="2371725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0"/>
              </a:rPr>
              <a:t>Фармацевтическая </a:t>
            </a:r>
          </a:p>
        </p:txBody>
      </p:sp>
      <p:sp>
        <p:nvSpPr>
          <p:cNvPr id="12" name="ee4pHeader3">
            <a:extLst>
              <a:ext uri="{FF2B5EF4-FFF2-40B4-BE49-F238E27FC236}">
                <a16:creationId xmlns:a16="http://schemas.microsoft.com/office/drawing/2014/main" id="{53142B46-3C0D-43F3-AF64-21A2A89954FE}"/>
              </a:ext>
            </a:extLst>
          </p:cNvPr>
          <p:cNvSpPr txBox="1"/>
          <p:nvPr/>
        </p:nvSpPr>
        <p:spPr>
          <a:xfrm>
            <a:off x="8715376" y="1547309"/>
            <a:ext cx="2371725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0"/>
              </a:rPr>
              <a:t>Медицинская </a:t>
            </a:r>
          </a:p>
        </p:txBody>
      </p:sp>
      <p:sp>
        <p:nvSpPr>
          <p:cNvPr id="41" name="Прямоугольник 44">
            <a:extLst>
              <a:ext uri="{FF2B5EF4-FFF2-40B4-BE49-F238E27FC236}">
                <a16:creationId xmlns:a16="http://schemas.microsoft.com/office/drawing/2014/main" id="{56B144F0-C223-47DD-B72C-E82F9872875A}"/>
              </a:ext>
            </a:extLst>
          </p:cNvPr>
          <p:cNvSpPr/>
          <p:nvPr/>
        </p:nvSpPr>
        <p:spPr>
          <a:xfrm>
            <a:off x="1666388" y="2185141"/>
            <a:ext cx="145887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Всего действующ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42" name="Прямоугольник 53">
            <a:extLst>
              <a:ext uri="{FF2B5EF4-FFF2-40B4-BE49-F238E27FC236}">
                <a16:creationId xmlns:a16="http://schemas.microsoft.com/office/drawing/2014/main" id="{AC3C13FD-11AD-480A-9525-19936249794B}"/>
              </a:ext>
            </a:extLst>
          </p:cNvPr>
          <p:cNvSpPr/>
          <p:nvPr/>
        </p:nvSpPr>
        <p:spPr>
          <a:xfrm>
            <a:off x="9313069" y="2185141"/>
            <a:ext cx="145891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Всего действующ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43" name="Прямоугольник 67">
            <a:extLst>
              <a:ext uri="{FF2B5EF4-FFF2-40B4-BE49-F238E27FC236}">
                <a16:creationId xmlns:a16="http://schemas.microsoft.com/office/drawing/2014/main" id="{2F6BA5AA-81E5-4880-8966-1672A7B9E6EB}"/>
              </a:ext>
            </a:extLst>
          </p:cNvPr>
          <p:cNvSpPr/>
          <p:nvPr/>
        </p:nvSpPr>
        <p:spPr>
          <a:xfrm>
            <a:off x="5099050" y="2185141"/>
            <a:ext cx="1712580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Всего действующ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49" name="Прямоугольник 44">
            <a:extLst>
              <a:ext uri="{FF2B5EF4-FFF2-40B4-BE49-F238E27FC236}">
                <a16:creationId xmlns:a16="http://schemas.microsoft.com/office/drawing/2014/main" id="{3562252E-6564-4520-A02C-165DA165D52A}"/>
              </a:ext>
            </a:extLst>
          </p:cNvPr>
          <p:cNvSpPr/>
          <p:nvPr/>
        </p:nvSpPr>
        <p:spPr>
          <a:xfrm>
            <a:off x="1666388" y="3173131"/>
            <a:ext cx="1751029" cy="3349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действующих организаций</a:t>
            </a:r>
          </a:p>
        </p:txBody>
      </p:sp>
      <p:sp>
        <p:nvSpPr>
          <p:cNvPr id="51" name="Прямоугольник 67">
            <a:extLst>
              <a:ext uri="{FF2B5EF4-FFF2-40B4-BE49-F238E27FC236}">
                <a16:creationId xmlns:a16="http://schemas.microsoft.com/office/drawing/2014/main" id="{80A0AF9E-EF43-4F90-94DA-A7F043E49869}"/>
              </a:ext>
            </a:extLst>
          </p:cNvPr>
          <p:cNvSpPr/>
          <p:nvPr/>
        </p:nvSpPr>
        <p:spPr>
          <a:xfrm>
            <a:off x="5099050" y="3173130"/>
            <a:ext cx="1781736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действующих организаций</a:t>
            </a:r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25E0A5C4-4CE3-4C1D-8CCA-8EEBDA154251}"/>
              </a:ext>
            </a:extLst>
          </p:cNvPr>
          <p:cNvGrpSpPr/>
          <p:nvPr/>
        </p:nvGrpSpPr>
        <p:grpSpPr>
          <a:xfrm>
            <a:off x="8490778" y="3928178"/>
            <a:ext cx="1727561" cy="371475"/>
            <a:chOff x="6492504" y="3013447"/>
            <a:chExt cx="1727717" cy="371382"/>
          </a:xfrm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91B2D813-A034-4CB1-89F9-F82597119B40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92504" y="3013447"/>
              <a:ext cx="371382" cy="371382"/>
              <a:chOff x="6524625" y="2933865"/>
              <a:chExt cx="530546" cy="530546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AF8C41F2-EF2C-475E-819B-B6C2C230E31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3"/>
                </p:custDataLst>
              </p:nvPr>
            </p:nvGrpSpPr>
            <p:grpSpPr>
              <a:xfrm>
                <a:off x="6524625" y="2933865"/>
                <a:ext cx="530546" cy="530546"/>
                <a:chOff x="6096000" y="3429000"/>
                <a:chExt cx="269875" cy="269875"/>
              </a:xfrm>
            </p:grpSpPr>
            <p:sp>
              <p:nvSpPr>
                <p:cNvPr id="74" name="background">
                  <a:extLst>
                    <a:ext uri="{FF2B5EF4-FFF2-40B4-BE49-F238E27FC236}">
                      <a16:creationId xmlns:a16="http://schemas.microsoft.com/office/drawing/2014/main" id="{3FC893CA-8E8B-415E-B10D-715416D1B359}"/>
                    </a:ext>
                  </a:extLst>
                </p:cNvPr>
                <p:cNvSpPr/>
                <p:nvPr/>
              </p:nvSpPr>
              <p:spPr>
                <a:xfrm>
                  <a:off x="6096000" y="3429000"/>
                  <a:ext cx="269875" cy="269875"/>
                </a:xfrm>
                <a:prstGeom prst="ellipse">
                  <a:avLst/>
                </a:prstGeom>
                <a:solidFill>
                  <a:srgbClr val="E2E2E3">
                    <a:lumMod val="100000"/>
                  </a:srgbClr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arc">
                  <a:extLst>
                    <a:ext uri="{FF2B5EF4-FFF2-40B4-BE49-F238E27FC236}">
                      <a16:creationId xmlns:a16="http://schemas.microsoft.com/office/drawing/2014/main" id="{FD80A52B-1530-4D88-856F-2164C56B22C5}"/>
                    </a:ext>
                  </a:extLst>
                </p:cNvPr>
                <p:cNvSpPr/>
                <p:nvPr/>
              </p:nvSpPr>
              <p:spPr>
                <a:xfrm>
                  <a:off x="6096000" y="3429000"/>
                  <a:ext cx="269875" cy="269875"/>
                </a:xfrm>
                <a:prstGeom prst="arc">
                  <a:avLst>
                    <a:gd name="adj1" fmla="val 16200000"/>
                    <a:gd name="adj2" fmla="val 15767999"/>
                  </a:avLst>
                </a:prstGeom>
                <a:solidFill>
                  <a:srgbClr val="00B050"/>
                </a:solidFill>
                <a:ln w="9525" cap="rnd" cmpd="sng" algn="ctr">
                  <a:noFill/>
                  <a:prstDash val="solid"/>
                  <a:round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</a14:hiddenLine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lIns="64008" tIns="32004" rIns="64008" bIns="32004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6" name="circle">
                  <a:extLst>
                    <a:ext uri="{FF2B5EF4-FFF2-40B4-BE49-F238E27FC236}">
                      <a16:creationId xmlns:a16="http://schemas.microsoft.com/office/drawing/2014/main" id="{001F3204-2D89-4E30-BBA2-DE187E5EE5F2}"/>
                    </a:ext>
                  </a:extLst>
                </p:cNvPr>
                <p:cNvSpPr/>
                <p:nvPr/>
              </p:nvSpPr>
              <p:spPr>
                <a:xfrm>
                  <a:off x="6096000" y="3429000"/>
                  <a:ext cx="269875" cy="269875"/>
                </a:xfrm>
                <a:prstGeom prst="ellipse">
                  <a:avLst/>
                </a:prstGeom>
                <a:noFill/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595959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46" name="Oval 10">
                <a:extLst>
                  <a:ext uri="{FF2B5EF4-FFF2-40B4-BE49-F238E27FC236}">
                    <a16:creationId xmlns:a16="http://schemas.microsoft.com/office/drawing/2014/main" id="{B145E086-00E7-40C0-A810-93BE4373561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69560" y="2978800"/>
                <a:ext cx="440676" cy="440676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64008" tIns="64008" rIns="64008" bIns="64008" rtlCol="0" anchor="ctr"/>
              <a:lstStyle/>
              <a:p>
                <a:pPr algn="ctr">
                  <a:lnSpc>
                    <a:spcPct val="95000"/>
                  </a:lnSpc>
                </a:pPr>
                <a:r>
                  <a:rPr lang="ru-RU" sz="770" b="1" kern="0" dirty="0">
                    <a:solidFill>
                      <a:srgbClr val="595959"/>
                    </a:solidFill>
                    <a:latin typeface="PT Sans Caption" panose="020B0603020203020204" charset="0"/>
                  </a:rPr>
                  <a:t>98%</a:t>
                </a:r>
                <a:endParaRPr lang="en-US" sz="770" b="1" kern="0" dirty="0">
                  <a:solidFill>
                    <a:srgbClr val="595959"/>
                  </a:solidFill>
                  <a:latin typeface="PT Sans Caption" panose="020B0603020203020204" charset="0"/>
                </a:endParaRPr>
              </a:p>
            </p:txBody>
          </p:sp>
        </p:grpSp>
        <p:sp>
          <p:nvSpPr>
            <p:cNvPr id="50" name="Прямоугольник 53">
              <a:extLst>
                <a:ext uri="{FF2B5EF4-FFF2-40B4-BE49-F238E27FC236}">
                  <a16:creationId xmlns:a16="http://schemas.microsoft.com/office/drawing/2014/main" id="{10E09299-EBF3-4DCC-ABE0-6CC24C1B2123}"/>
                </a:ext>
              </a:extLst>
            </p:cNvPr>
            <p:cNvSpPr/>
            <p:nvPr/>
          </p:nvSpPr>
          <p:spPr>
            <a:xfrm>
              <a:off x="6863886" y="3029483"/>
              <a:ext cx="1356335" cy="33931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T Sans" panose="020B0503020203020204" pitchFamily="34" charset="0"/>
                </a:rPr>
                <a:t>Зарегистрировано бюджетных</a:t>
              </a:r>
              <a:endParaRPr lang="ru-RU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74498FAC-7556-4FE8-B0CA-A21FA5761A71}"/>
              </a:ext>
            </a:extLst>
          </p:cNvPr>
          <p:cNvGrpSpPr/>
          <p:nvPr/>
        </p:nvGrpSpPr>
        <p:grpSpPr>
          <a:xfrm>
            <a:off x="10290422" y="3928178"/>
            <a:ext cx="1004394" cy="371475"/>
            <a:chOff x="7700697" y="3013447"/>
            <a:chExt cx="1004485" cy="371382"/>
          </a:xfrm>
        </p:grpSpPr>
        <p:sp>
          <p:nvSpPr>
            <p:cNvPr id="55" name="Прямоугольник 53">
              <a:extLst>
                <a:ext uri="{FF2B5EF4-FFF2-40B4-BE49-F238E27FC236}">
                  <a16:creationId xmlns:a16="http://schemas.microsoft.com/office/drawing/2014/main" id="{CB06CBE9-F9E4-4213-AB3C-747CE98E4B4D}"/>
                </a:ext>
              </a:extLst>
            </p:cNvPr>
            <p:cNvSpPr/>
            <p:nvPr/>
          </p:nvSpPr>
          <p:spPr>
            <a:xfrm>
              <a:off x="8072079" y="3029482"/>
              <a:ext cx="633103" cy="33931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T Sans" panose="020B0503020203020204" pitchFamily="34" charset="0"/>
                </a:rPr>
                <a:t>РВ получили </a:t>
              </a:r>
            </a:p>
          </p:txBody>
        </p: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9AAFE1A6-905D-4380-8037-8056EF912BA4}"/>
                </a:ext>
              </a:extLst>
            </p:cNvPr>
            <p:cNvGrpSpPr>
              <a:grpSpLocks/>
            </p:cNvGrpSpPr>
            <p:nvPr/>
          </p:nvGrpSpPr>
          <p:grpSpPr>
            <a:xfrm>
              <a:off x="7700697" y="3013447"/>
              <a:ext cx="371382" cy="371382"/>
              <a:chOff x="6524625" y="3608108"/>
              <a:chExt cx="530546" cy="530546"/>
            </a:xfrm>
          </p:grpSpPr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D8A58A1B-09A6-4005-AB7D-CF168589BBE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2"/>
                </p:custDataLst>
              </p:nvPr>
            </p:nvGrpSpPr>
            <p:grpSpPr>
              <a:xfrm>
                <a:off x="6524625" y="3608108"/>
                <a:ext cx="530546" cy="530546"/>
                <a:chOff x="6096000" y="3429000"/>
                <a:chExt cx="269875" cy="269875"/>
              </a:xfrm>
            </p:grpSpPr>
            <p:sp>
              <p:nvSpPr>
                <p:cNvPr id="78" name="background">
                  <a:extLst>
                    <a:ext uri="{FF2B5EF4-FFF2-40B4-BE49-F238E27FC236}">
                      <a16:creationId xmlns:a16="http://schemas.microsoft.com/office/drawing/2014/main" id="{B10BDD2E-6C27-46EE-B9BF-24C5BE3B8650}"/>
                    </a:ext>
                  </a:extLst>
                </p:cNvPr>
                <p:cNvSpPr/>
                <p:nvPr/>
              </p:nvSpPr>
              <p:spPr>
                <a:xfrm>
                  <a:off x="6096000" y="3429000"/>
                  <a:ext cx="269875" cy="269875"/>
                </a:xfrm>
                <a:prstGeom prst="ellipse">
                  <a:avLst/>
                </a:prstGeom>
                <a:solidFill>
                  <a:srgbClr val="E2E2E3">
                    <a:lumMod val="100000"/>
                  </a:srgbClr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9" name="arc">
                  <a:extLst>
                    <a:ext uri="{FF2B5EF4-FFF2-40B4-BE49-F238E27FC236}">
                      <a16:creationId xmlns:a16="http://schemas.microsoft.com/office/drawing/2014/main" id="{15829FBC-8AB8-443D-81FC-153942CA8219}"/>
                    </a:ext>
                  </a:extLst>
                </p:cNvPr>
                <p:cNvSpPr/>
                <p:nvPr/>
              </p:nvSpPr>
              <p:spPr>
                <a:xfrm>
                  <a:off x="6096000" y="3429000"/>
                  <a:ext cx="269875" cy="269875"/>
                </a:xfrm>
                <a:prstGeom prst="arc">
                  <a:avLst>
                    <a:gd name="adj1" fmla="val 16200000"/>
                    <a:gd name="adj2" fmla="val 13824000"/>
                  </a:avLst>
                </a:prstGeom>
                <a:solidFill>
                  <a:srgbClr val="00B050"/>
                </a:solidFill>
                <a:ln w="9525" cap="rnd" cmpd="sng" algn="ctr">
                  <a:noFill/>
                  <a:prstDash val="solid"/>
                  <a:round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</a14:hiddenLine>
                  </a:ext>
                </a:ex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lIns="64008" tIns="32004" rIns="64008" bIns="32004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0" name="circle">
                  <a:extLst>
                    <a:ext uri="{FF2B5EF4-FFF2-40B4-BE49-F238E27FC236}">
                      <a16:creationId xmlns:a16="http://schemas.microsoft.com/office/drawing/2014/main" id="{992D28E7-63A3-4A3C-9F75-1316878F9B91}"/>
                    </a:ext>
                  </a:extLst>
                </p:cNvPr>
                <p:cNvSpPr/>
                <p:nvPr/>
              </p:nvSpPr>
              <p:spPr>
                <a:xfrm>
                  <a:off x="6096000" y="3429000"/>
                  <a:ext cx="269875" cy="269875"/>
                </a:xfrm>
                <a:prstGeom prst="ellipse">
                  <a:avLst/>
                </a:prstGeom>
                <a:noFill/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595959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54" name="Oval 10">
                <a:extLst>
                  <a:ext uri="{FF2B5EF4-FFF2-40B4-BE49-F238E27FC236}">
                    <a16:creationId xmlns:a16="http://schemas.microsoft.com/office/drawing/2014/main" id="{C65BBE7E-8B39-464D-B68A-849EF48F529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62830" y="3653042"/>
                <a:ext cx="440676" cy="440676"/>
              </a:xfrm>
              <a:prstGeom prst="ellipse">
                <a:avLst/>
              </a:prstGeom>
              <a:solidFill>
                <a:srgbClr val="F2F2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64008" tIns="64008" rIns="64008" bIns="64008" rtlCol="0" anchor="ctr"/>
              <a:lstStyle/>
              <a:p>
                <a:pPr algn="ctr">
                  <a:lnSpc>
                    <a:spcPct val="95000"/>
                  </a:lnSpc>
                </a:pPr>
                <a:r>
                  <a:rPr lang="ru-RU" sz="770" b="1" kern="0" dirty="0">
                    <a:solidFill>
                      <a:srgbClr val="595959"/>
                    </a:solidFill>
                    <a:latin typeface="PT Sans Caption" panose="020B0603020203020204" charset="0"/>
                  </a:rPr>
                  <a:t>96%</a:t>
                </a:r>
                <a:endParaRPr lang="en-US" sz="770" b="1" kern="0" dirty="0">
                  <a:solidFill>
                    <a:srgbClr val="595959"/>
                  </a:solidFill>
                  <a:latin typeface="PT Sans Caption" panose="020B0603020203020204" charset="0"/>
                </a:endParaRPr>
              </a:p>
            </p:txBody>
          </p:sp>
        </p:grp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8EF7BA2C-AE9F-4972-8D9E-F2EF4B893883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8490651" y="4385108"/>
            <a:ext cx="371475" cy="371475"/>
            <a:chOff x="6096000" y="3429000"/>
            <a:chExt cx="269875" cy="269875"/>
          </a:xfrm>
        </p:grpSpPr>
        <p:sp>
          <p:nvSpPr>
            <p:cNvPr id="241" name="background">
              <a:extLst>
                <a:ext uri="{FF2B5EF4-FFF2-40B4-BE49-F238E27FC236}">
                  <a16:creationId xmlns:a16="http://schemas.microsoft.com/office/drawing/2014/main" id="{881B7389-518F-4A6A-AC0D-04333CD11F0E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42" name="arc">
              <a:extLst>
                <a:ext uri="{FF2B5EF4-FFF2-40B4-BE49-F238E27FC236}">
                  <a16:creationId xmlns:a16="http://schemas.microsoft.com/office/drawing/2014/main" id="{BC1BA66E-E699-4D24-A208-6B4475678A52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4968000"/>
              </a:avLst>
            </a:prstGeom>
            <a:solidFill>
              <a:srgbClr val="595959">
                <a:lumMod val="100000"/>
              </a:srgbClr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4008" tIns="32004" rIns="64008" bIns="32004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43" name="circle">
              <a:extLst>
                <a:ext uri="{FF2B5EF4-FFF2-40B4-BE49-F238E27FC236}">
                  <a16:creationId xmlns:a16="http://schemas.microsoft.com/office/drawing/2014/main" id="{0623B599-F76E-46F7-B5ED-F82205A29FEF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40" name="Oval 10">
            <a:extLst>
              <a:ext uri="{FF2B5EF4-FFF2-40B4-BE49-F238E27FC236}">
                <a16:creationId xmlns:a16="http://schemas.microsoft.com/office/drawing/2014/main" id="{EB4F262B-5C66-41CC-8628-55C37C28BB78}"/>
              </a:ext>
            </a:extLst>
          </p:cNvPr>
          <p:cNvSpPr>
            <a:spLocks noChangeAspect="1"/>
          </p:cNvSpPr>
          <p:nvPr/>
        </p:nvSpPr>
        <p:spPr>
          <a:xfrm>
            <a:off x="8522401" y="4416858"/>
            <a:ext cx="307975" cy="30808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64008" tIns="64008" rIns="64008" bIns="64008" rtlCol="0" anchor="ctr"/>
          <a:lstStyle/>
          <a:p>
            <a:pPr algn="ctr">
              <a:lnSpc>
                <a:spcPct val="95000"/>
              </a:lnSpc>
            </a:pPr>
            <a:r>
              <a:rPr lang="en-US" sz="770" b="1" kern="0" dirty="0">
                <a:solidFill>
                  <a:srgbClr val="595959"/>
                </a:solidFill>
                <a:latin typeface="PT Sans Caption" panose="020B0603020203020204" charset="0"/>
              </a:rPr>
              <a:t>4</a:t>
            </a:r>
            <a:r>
              <a:rPr lang="ru-RU" sz="770" b="1" kern="0" dirty="0">
                <a:solidFill>
                  <a:srgbClr val="595959"/>
                </a:solidFill>
                <a:latin typeface="PT Sans Caption" panose="020B0603020203020204" charset="0"/>
              </a:rPr>
              <a:t>9%</a:t>
            </a:r>
            <a:endParaRPr lang="en-US" sz="77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238" name="Прямоугольник 53">
            <a:extLst>
              <a:ext uri="{FF2B5EF4-FFF2-40B4-BE49-F238E27FC236}">
                <a16:creationId xmlns:a16="http://schemas.microsoft.com/office/drawing/2014/main" id="{1AC44275-56BC-4C5C-A912-3BEBC3883F47}"/>
              </a:ext>
            </a:extLst>
          </p:cNvPr>
          <p:cNvSpPr/>
          <p:nvPr/>
        </p:nvSpPr>
        <p:spPr>
          <a:xfrm>
            <a:off x="8862126" y="4400983"/>
            <a:ext cx="1355725" cy="3397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коммерческих</a:t>
            </a:r>
          </a:p>
        </p:txBody>
      </p:sp>
      <p:sp>
        <p:nvSpPr>
          <p:cNvPr id="230" name="Прямоугольник 53">
            <a:extLst>
              <a:ext uri="{FF2B5EF4-FFF2-40B4-BE49-F238E27FC236}">
                <a16:creationId xmlns:a16="http://schemas.microsoft.com/office/drawing/2014/main" id="{831659CF-5E44-4776-B014-D0D18F6DAAD8}"/>
              </a:ext>
            </a:extLst>
          </p:cNvPr>
          <p:cNvSpPr/>
          <p:nvPr/>
        </p:nvSpPr>
        <p:spPr>
          <a:xfrm>
            <a:off x="10656888" y="4400983"/>
            <a:ext cx="633413" cy="3397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В получили </a:t>
            </a:r>
          </a:p>
        </p:txBody>
      </p: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7CF984A8-9813-40CC-8516-E4678D5906EB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10285413" y="4385108"/>
            <a:ext cx="371475" cy="371475"/>
            <a:chOff x="6096000" y="3429000"/>
            <a:chExt cx="269875" cy="269875"/>
          </a:xfrm>
        </p:grpSpPr>
        <p:sp>
          <p:nvSpPr>
            <p:cNvPr id="234" name="background">
              <a:extLst>
                <a:ext uri="{FF2B5EF4-FFF2-40B4-BE49-F238E27FC236}">
                  <a16:creationId xmlns:a16="http://schemas.microsoft.com/office/drawing/2014/main" id="{C1413049-F81E-40EC-A0FF-46C50E61F52F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35" name="arc">
              <a:extLst>
                <a:ext uri="{FF2B5EF4-FFF2-40B4-BE49-F238E27FC236}">
                  <a16:creationId xmlns:a16="http://schemas.microsoft.com/office/drawing/2014/main" id="{21C2A7AD-1AB1-4435-A963-12EFA28956E3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4968000"/>
              </a:avLst>
            </a:prstGeom>
            <a:solidFill>
              <a:srgbClr val="595959">
                <a:lumMod val="100000"/>
              </a:srgbClr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4008" tIns="32004" rIns="64008" bIns="32004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36" name="circle">
              <a:extLst>
                <a:ext uri="{FF2B5EF4-FFF2-40B4-BE49-F238E27FC236}">
                  <a16:creationId xmlns:a16="http://schemas.microsoft.com/office/drawing/2014/main" id="{6C124D14-0095-4DE5-BEA4-A9B953196263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4008" tIns="32004" rIns="64008" bIns="320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3" name="Oval 10">
            <a:extLst>
              <a:ext uri="{FF2B5EF4-FFF2-40B4-BE49-F238E27FC236}">
                <a16:creationId xmlns:a16="http://schemas.microsoft.com/office/drawing/2014/main" id="{4DD1B6AD-F915-4B0B-B984-DF886F099BF5}"/>
              </a:ext>
            </a:extLst>
          </p:cNvPr>
          <p:cNvSpPr>
            <a:spLocks noChangeAspect="1"/>
          </p:cNvSpPr>
          <p:nvPr/>
        </p:nvSpPr>
        <p:spPr>
          <a:xfrm>
            <a:off x="10317163" y="4416858"/>
            <a:ext cx="307975" cy="30808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64008" tIns="64008" rIns="64008" bIns="64008" rtlCol="0" anchor="ctr"/>
          <a:lstStyle/>
          <a:p>
            <a:pPr algn="ctr">
              <a:lnSpc>
                <a:spcPct val="95000"/>
              </a:lnSpc>
            </a:pPr>
            <a:r>
              <a:rPr lang="en-US" sz="770" b="1" kern="0" dirty="0">
                <a:solidFill>
                  <a:srgbClr val="595959"/>
                </a:solidFill>
                <a:latin typeface="PT Sans Caption" panose="020B0603020203020204" charset="0"/>
              </a:rPr>
              <a:t>60</a:t>
            </a:r>
            <a:r>
              <a:rPr lang="ru-RU" sz="770" b="1" kern="0" dirty="0">
                <a:solidFill>
                  <a:srgbClr val="595959"/>
                </a:solidFill>
                <a:latin typeface="PT Sans Caption" panose="020B0603020203020204" charset="0"/>
              </a:rPr>
              <a:t>%</a:t>
            </a:r>
            <a:endParaRPr lang="en-US" sz="77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id="{088EA64A-1FDE-4B30-AE42-54404CA29C30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08902987"/>
              </p:ext>
            </p:extLst>
          </p:nvPr>
        </p:nvGraphicFramePr>
        <p:xfrm>
          <a:off x="327025" y="5064125"/>
          <a:ext cx="2965450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271" name="Rectangle 270">
            <a:extLst>
              <a:ext uri="{FF2B5EF4-FFF2-40B4-BE49-F238E27FC236}">
                <a16:creationId xmlns:a16="http://schemas.microsoft.com/office/drawing/2014/main" id="{53A1BF6D-57EA-425F-AAB4-8F98F9242336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435917" y="6134962"/>
            <a:ext cx="179388" cy="133350"/>
          </a:xfrm>
          <a:prstGeom prst="rect">
            <a:avLst/>
          </a:prstGeom>
          <a:solidFill>
            <a:srgbClr val="EBE60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142EC867-9F55-41B6-A756-C45AB74DF525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5775952" y="6152425"/>
            <a:ext cx="179388" cy="133350"/>
          </a:xfrm>
          <a:prstGeom prst="rect">
            <a:avLst/>
          </a:prstGeom>
          <a:solidFill>
            <a:srgbClr val="88888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64" name="Text Placeholder 3">
            <a:extLst>
              <a:ext uri="{FF2B5EF4-FFF2-40B4-BE49-F238E27FC236}">
                <a16:creationId xmlns:a16="http://schemas.microsoft.com/office/drawing/2014/main" id="{3BBB55FA-B7DE-47AC-B002-A336FAD79AA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89918" y="6137281"/>
            <a:ext cx="1193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A346FE1-EBFA-412B-BDB7-C3BFC833BC24}" type="datetime'''Не'' ''зар''''ег''''''ист''''''''р''''и''р''о''''''ва''''н'">
              <a:rPr lang="ru-RU" altLang="en-US" sz="1000" smtClean="0"/>
              <a:pPr/>
              <a:t>Не зарегистрирован</a:t>
            </a:fld>
            <a:endParaRPr lang="en-US" sz="1000" dirty="0">
              <a:latin typeface="+mn-lt"/>
              <a:sym typeface="+mn-lt"/>
            </a:endParaRPr>
          </a:p>
        </p:txBody>
      </p:sp>
      <p:sp>
        <p:nvSpPr>
          <p:cNvPr id="263" name="Text Placeholder 3">
            <a:extLst>
              <a:ext uri="{FF2B5EF4-FFF2-40B4-BE49-F238E27FC236}">
                <a16:creationId xmlns:a16="http://schemas.microsoft.com/office/drawing/2014/main" id="{0FE5BF2E-7076-440F-A69D-B49E893111F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43575" y="6117500"/>
            <a:ext cx="10144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FA473FB-2B05-45B2-8B8E-50ECDC04C94D}" type="datetime'''З''''''ар''''''е''''''гис''т''''''''р''''''''''ир''о''ван'">
              <a:rPr lang="ru-RU" altLang="en-US" sz="1000" smtClean="0"/>
              <a:pPr/>
              <a:t>Зарегистрирован</a:t>
            </a:fld>
            <a:endParaRPr lang="en-US" sz="1000" dirty="0">
              <a:latin typeface="+mn-lt"/>
              <a:sym typeface="+mn-lt"/>
            </a:endParaRPr>
          </a:p>
        </p:txBody>
      </p:sp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0DCF3000-7048-4EFB-AE0F-B6D59E37B110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82070042"/>
              </p:ext>
            </p:extLst>
          </p:nvPr>
        </p:nvGraphicFramePr>
        <p:xfrm>
          <a:off x="3913188" y="5064125"/>
          <a:ext cx="3049587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 useBgFill="1">
        <p:nvSpPr>
          <p:cNvPr id="25" name="Freeform: Shape 24">
            <a:extLst>
              <a:ext uri="{FF2B5EF4-FFF2-40B4-BE49-F238E27FC236}">
                <a16:creationId xmlns:a16="http://schemas.microsoft.com/office/drawing/2014/main" id="{C7D51BFA-77AC-4541-A026-F3054A17577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289425" y="5173663"/>
            <a:ext cx="1185864" cy="376238"/>
          </a:xfrm>
          <a:custGeom>
            <a:avLst/>
            <a:gdLst/>
            <a:ahLst/>
            <a:cxnLst/>
            <a:rect l="0" t="0" r="0" b="0"/>
            <a:pathLst>
              <a:path w="1185864" h="376238">
                <a:moveTo>
                  <a:pt x="0" y="319087"/>
                </a:moveTo>
                <a:lnTo>
                  <a:pt x="1185863" y="0"/>
                </a:lnTo>
                <a:lnTo>
                  <a:pt x="1185863" y="57150"/>
                </a:lnTo>
                <a:lnTo>
                  <a:pt x="0" y="376237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59595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36ECF8C-F934-4F2E-8F22-CE121D4F320E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4289425" y="5173663"/>
            <a:ext cx="1185864" cy="319088"/>
          </a:xfrm>
          <a:custGeom>
            <a:avLst/>
            <a:gdLst/>
            <a:ahLst/>
            <a:cxnLst/>
            <a:rect l="0" t="0" r="0" b="0"/>
            <a:pathLst>
              <a:path w="1185864" h="319088">
                <a:moveTo>
                  <a:pt x="0" y="319087"/>
                </a:moveTo>
                <a:lnTo>
                  <a:pt x="1185863" y="0"/>
                </a:lnTo>
              </a:path>
            </a:pathLst>
          </a:custGeom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5294D82-CB92-4732-915F-82ED23AE775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289425" y="5230813"/>
            <a:ext cx="1185864" cy="319088"/>
          </a:xfrm>
          <a:custGeom>
            <a:avLst/>
            <a:gdLst/>
            <a:ahLst/>
            <a:cxnLst/>
            <a:rect l="0" t="0" r="0" b="0"/>
            <a:pathLst>
              <a:path w="1185864" h="319088">
                <a:moveTo>
                  <a:pt x="0" y="319087"/>
                </a:moveTo>
                <a:lnTo>
                  <a:pt x="1185863" y="0"/>
                </a:lnTo>
              </a:path>
            </a:pathLst>
          </a:custGeom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9BAE2CE7-1A1F-400D-A602-862A0AA5EC1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64075" y="4953001"/>
            <a:ext cx="4349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95959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95959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latin typeface="+mn-lt"/>
                <a:sym typeface="+mn-lt"/>
              </a:rPr>
              <a:t>1</a:t>
            </a:r>
            <a:r>
              <a:rPr lang="en-US" sz="1000" dirty="0">
                <a:latin typeface="+mn-lt"/>
                <a:sym typeface="+mn-lt"/>
              </a:rPr>
              <a:t>3 </a:t>
            </a:r>
            <a:r>
              <a:rPr lang="ru-RU" sz="1000" dirty="0">
                <a:latin typeface="+mn-lt"/>
                <a:sym typeface="+mn-lt"/>
              </a:rPr>
              <a:t>184</a:t>
            </a:r>
            <a:endParaRPr lang="en-US" sz="1000" dirty="0">
              <a:latin typeface="+mn-lt"/>
              <a:sym typeface="+mn-lt"/>
            </a:endParaRPr>
          </a:p>
        </p:txBody>
      </p:sp>
      <p:graphicFrame>
        <p:nvGraphicFramePr>
          <p:cNvPr id="118" name="Chart 117">
            <a:extLst>
              <a:ext uri="{FF2B5EF4-FFF2-40B4-BE49-F238E27FC236}">
                <a16:creationId xmlns:a16="http://schemas.microsoft.com/office/drawing/2014/main" id="{96C82387-A37B-468D-8041-B714282CAFDE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8091488" y="5064125"/>
          <a:ext cx="3548062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98B44481-2A92-48E3-A1B7-142AC8BB0146}"/>
              </a:ext>
            </a:extLst>
          </p:cNvPr>
          <p:cNvCxnSpPr>
            <a:cxnSpLocks/>
          </p:cNvCxnSpPr>
          <p:nvPr/>
        </p:nvCxnSpPr>
        <p:spPr>
          <a:xfrm flipH="1">
            <a:off x="3556435" y="1547309"/>
            <a:ext cx="827" cy="44566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A73B9892-AE32-49AA-BA49-AD91AB0625A1}"/>
              </a:ext>
            </a:extLst>
          </p:cNvPr>
          <p:cNvCxnSpPr>
            <a:cxnSpLocks/>
          </p:cNvCxnSpPr>
          <p:nvPr/>
        </p:nvCxnSpPr>
        <p:spPr>
          <a:xfrm flipH="1">
            <a:off x="7720013" y="1547309"/>
            <a:ext cx="827" cy="44566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FC585EC2-7360-4217-AF17-7C5E3754C570}"/>
              </a:ext>
            </a:extLst>
          </p:cNvPr>
          <p:cNvGrpSpPr/>
          <p:nvPr/>
        </p:nvGrpSpPr>
        <p:grpSpPr>
          <a:xfrm>
            <a:off x="8126428" y="2861291"/>
            <a:ext cx="912813" cy="913116"/>
            <a:chOff x="5274370" y="4197828"/>
            <a:chExt cx="913116" cy="913116"/>
          </a:xfrm>
        </p:grpSpPr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92B8AB31-7CC1-486B-8CCF-E12980B2AED3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5274370" y="4197828"/>
              <a:ext cx="913116" cy="913116"/>
              <a:chOff x="6096000" y="3429000"/>
              <a:chExt cx="269875" cy="269875"/>
            </a:xfrm>
          </p:grpSpPr>
          <p:sp>
            <p:nvSpPr>
              <p:cNvPr id="134" name="background">
                <a:extLst>
                  <a:ext uri="{FF2B5EF4-FFF2-40B4-BE49-F238E27FC236}">
                    <a16:creationId xmlns:a16="http://schemas.microsoft.com/office/drawing/2014/main" id="{4176B881-DE41-4DA3-9533-13E716CF8E0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arc">
                <a:extLst>
                  <a:ext uri="{FF2B5EF4-FFF2-40B4-BE49-F238E27FC236}">
                    <a16:creationId xmlns:a16="http://schemas.microsoft.com/office/drawing/2014/main" id="{7BEAA055-C462-4C3D-A532-C5F57D45058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723717"/>
                </a:avLst>
              </a:prstGeom>
              <a:solidFill>
                <a:srgbClr val="595959">
                  <a:lumMod val="100000"/>
                </a:srgbClr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36" name="circle">
                <a:extLst>
                  <a:ext uri="{FF2B5EF4-FFF2-40B4-BE49-F238E27FC236}">
                    <a16:creationId xmlns:a16="http://schemas.microsoft.com/office/drawing/2014/main" id="{835985C5-37F7-4A42-AE82-6E782800C86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37" name="Oval 10">
              <a:extLst>
                <a:ext uri="{FF2B5EF4-FFF2-40B4-BE49-F238E27FC236}">
                  <a16:creationId xmlns:a16="http://schemas.microsoft.com/office/drawing/2014/main" id="{FDD755AE-F929-4950-9F5F-62F3640CCD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39914" y="4263372"/>
              <a:ext cx="782028" cy="782028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400" b="1" kern="0" dirty="0">
                  <a:solidFill>
                    <a:srgbClr val="595959"/>
                  </a:solidFill>
                  <a:latin typeface="PT Sans Caption" panose="020B0603020203020204" charset="0"/>
                </a:rPr>
                <a:t>5</a:t>
              </a:r>
              <a:r>
                <a:rPr lang="en-US" sz="1400" b="1" kern="0" dirty="0">
                  <a:solidFill>
                    <a:srgbClr val="595959"/>
                  </a:solidFill>
                  <a:latin typeface="PT Sans Caption" panose="020B0603020203020204" charset="0"/>
                </a:rPr>
                <a:t>8%</a:t>
              </a:r>
            </a:p>
          </p:txBody>
        </p:sp>
      </p:grpSp>
      <p:sp>
        <p:nvSpPr>
          <p:cNvPr id="149" name="Прямоугольник 67">
            <a:extLst>
              <a:ext uri="{FF2B5EF4-FFF2-40B4-BE49-F238E27FC236}">
                <a16:creationId xmlns:a16="http://schemas.microsoft.com/office/drawing/2014/main" id="{B67D2D7C-C603-46BB-A542-2F9AAA1D4819}"/>
              </a:ext>
            </a:extLst>
          </p:cNvPr>
          <p:cNvSpPr/>
          <p:nvPr/>
        </p:nvSpPr>
        <p:spPr>
          <a:xfrm>
            <a:off x="9283716" y="3173130"/>
            <a:ext cx="1868269" cy="3270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действующих организаций</a:t>
            </a:r>
          </a:p>
        </p:txBody>
      </p:sp>
      <p:sp>
        <p:nvSpPr>
          <p:cNvPr id="81" name="ee4pFootnotes">
            <a:extLst>
              <a:ext uri="{FF2B5EF4-FFF2-40B4-BE49-F238E27FC236}">
                <a16:creationId xmlns:a16="http://schemas.microsoft.com/office/drawing/2014/main" id="{8436CE43-C8DA-481F-BA6C-6F2E93C88A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261" y="6325337"/>
            <a:ext cx="10752375" cy="4985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228600" indent="-228600">
              <a:lnSpc>
                <a:spcPct val="90000"/>
              </a:lnSpc>
              <a:buAutoNum type="arabicPeriod"/>
            </a:pPr>
            <a:r>
              <a:rPr lang="ru-RU" sz="8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  <a:cs typeface="Arial" pitchFamily="34" charset="0"/>
                <a:sym typeface="PT Sans Caption" panose="020B0603020203020204" charset="0"/>
              </a:rPr>
              <a:t>Согласно реестру РЗН, ИНН у которых хотя бы 1 место деятельности имеет в видах работ в лицензии оптовую торговлю</a:t>
            </a: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ru-RU" sz="8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  <a:cs typeface="Arial" pitchFamily="34" charset="0"/>
                <a:sym typeface="PT Sans Caption" panose="020B0603020203020204" charset="0"/>
              </a:rPr>
              <a:t>Исключены субъекты обращения, у которых есть оптовая торговля в видах работ в лицензии согласно РЗН</a:t>
            </a:r>
          </a:p>
          <a:p>
            <a:pPr marL="228600" indent="-228600">
              <a:lnSpc>
                <a:spcPct val="90000"/>
              </a:lnSpc>
              <a:buAutoNum type="arabicPeriod"/>
            </a:pPr>
            <a:r>
              <a:rPr lang="ru-RU" sz="8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  <a:cs typeface="Arial" pitchFamily="34" charset="0"/>
                <a:sym typeface="PT Sans Caption" panose="020B0603020203020204" charset="0"/>
              </a:rPr>
              <a:t>Согласно реестру РЗН, добавлены медицинские лицензии согласно уведомлениям по Республике Крым и Севастополю, исключены 105-е работы (мед. осмотры, освидетельствования и экспертизы).</a:t>
            </a:r>
          </a:p>
          <a:p>
            <a:pPr>
              <a:lnSpc>
                <a:spcPct val="90000"/>
              </a:lnSpc>
            </a:pPr>
            <a:r>
              <a:rPr lang="ru-RU" sz="12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  <a:cs typeface="Arial" pitchFamily="34" charset="0"/>
                <a:sym typeface="PT Sans Caption" panose="020B0603020203020204" charset="0"/>
              </a:rPr>
              <a:t>*</a:t>
            </a:r>
            <a:r>
              <a:rPr lang="ru-RU" sz="800" dirty="0">
                <a:solidFill>
                  <a:srgbClr val="595959">
                    <a:lumMod val="100000"/>
                  </a:srgbClr>
                </a:solidFill>
                <a:latin typeface="PT Sans Caption" panose="020B0603020203020204" pitchFamily="34" charset="-52"/>
                <a:cs typeface="Arial" pitchFamily="34" charset="0"/>
                <a:sym typeface="PT Sans Caption" panose="020B0603020203020204" charset="0"/>
              </a:rPr>
              <a:t> Для организаций, у которых в основном виде деятельности указаны работы в области здравоохранения, а так же больничная, врачебная и лечебная деятельности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630FA8-7434-4490-9DFF-BCF9FC1369DB}"/>
              </a:ext>
            </a:extLst>
          </p:cNvPr>
          <p:cNvSpPr/>
          <p:nvPr/>
        </p:nvSpPr>
        <p:spPr>
          <a:xfrm>
            <a:off x="8191951" y="3839951"/>
            <a:ext cx="3290924" cy="1039844"/>
          </a:xfrm>
          <a:prstGeom prst="rect">
            <a:avLst/>
          </a:prstGeom>
          <a:noFill/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942313-BC2D-4588-B967-965C0A3AA739}"/>
              </a:ext>
            </a:extLst>
          </p:cNvPr>
          <p:cNvSpPr txBox="1"/>
          <p:nvPr/>
        </p:nvSpPr>
        <p:spPr>
          <a:xfrm>
            <a:off x="11490400" y="3875637"/>
            <a:ext cx="144816" cy="10615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rgbClr val="595959"/>
                </a:solidFill>
              </a:rPr>
              <a:t>*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8A9A6C2-1F06-4062-933D-B4AAC2FE1095}"/>
              </a:ext>
            </a:extLst>
          </p:cNvPr>
          <p:cNvSpPr/>
          <p:nvPr/>
        </p:nvSpPr>
        <p:spPr>
          <a:xfrm>
            <a:off x="1498804" y="2802521"/>
            <a:ext cx="6896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  <a:latin typeface="PT Sans" panose="020B0503020203020204" pitchFamily="34" charset="0"/>
              </a:rPr>
              <a:t>+ 1</a:t>
            </a:r>
            <a:r>
              <a:rPr lang="en-US" b="1" dirty="0">
                <a:solidFill>
                  <a:srgbClr val="00B050"/>
                </a:solidFill>
                <a:latin typeface="PT Sans" panose="020B0503020203020204" pitchFamily="34" charset="0"/>
              </a:rPr>
              <a:t>%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AAC0061-A3D1-4509-8F78-6442C5FAA062}"/>
              </a:ext>
            </a:extLst>
          </p:cNvPr>
          <p:cNvSpPr/>
          <p:nvPr/>
        </p:nvSpPr>
        <p:spPr>
          <a:xfrm>
            <a:off x="9071302" y="2798937"/>
            <a:ext cx="6896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  <a:latin typeface="PT Sans" panose="020B0503020203020204" pitchFamily="34" charset="0"/>
              </a:rPr>
              <a:t>+ 1</a:t>
            </a:r>
            <a:r>
              <a:rPr lang="en-US" b="1" dirty="0">
                <a:solidFill>
                  <a:srgbClr val="00B050"/>
                </a:solidFill>
                <a:latin typeface="PT Sans" panose="020B0503020203020204" pitchFamily="34" charset="0"/>
              </a:rPr>
              <a:t>%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75F8F4F-8517-4D64-A861-2457C4882902}"/>
              </a:ext>
            </a:extLst>
          </p:cNvPr>
          <p:cNvSpPr/>
          <p:nvPr/>
        </p:nvSpPr>
        <p:spPr>
          <a:xfrm>
            <a:off x="4892273" y="2811053"/>
            <a:ext cx="6896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  <a:latin typeface="PT Sans" panose="020B0503020203020204" pitchFamily="34" charset="0"/>
              </a:rPr>
              <a:t>+ 0</a:t>
            </a:r>
            <a:r>
              <a:rPr lang="en-US" b="1" dirty="0">
                <a:solidFill>
                  <a:srgbClr val="00B050"/>
                </a:solidFill>
                <a:latin typeface="PT Sans" panose="020B0503020203020204" pitchFamily="34" charset="0"/>
              </a:rPr>
              <a:t>%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8FAE9F5F-F986-479B-A9E9-71A1BA509409}"/>
              </a:ext>
            </a:extLst>
          </p:cNvPr>
          <p:cNvSpPr/>
          <p:nvPr/>
        </p:nvSpPr>
        <p:spPr>
          <a:xfrm>
            <a:off x="5043973" y="4795534"/>
            <a:ext cx="821673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rgbClr val="00B050"/>
                </a:solidFill>
                <a:latin typeface="PT Sans" panose="020B0503020203020204" pitchFamily="34" charset="0"/>
              </a:rPr>
              <a:t>+ 33</a:t>
            </a:r>
            <a:endParaRPr lang="ru-RU" sz="1200" dirty="0">
              <a:solidFill>
                <a:srgbClr val="00B050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6AD79C0-E6E7-49F8-9F1D-59D1518F1A67}"/>
              </a:ext>
            </a:extLst>
          </p:cNvPr>
          <p:cNvSpPr/>
          <p:nvPr/>
        </p:nvSpPr>
        <p:spPr>
          <a:xfrm>
            <a:off x="9384976" y="4886827"/>
            <a:ext cx="5645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00B050"/>
                </a:solidFill>
                <a:latin typeface="PT Sans" panose="020B0503020203020204" pitchFamily="34" charset="0"/>
              </a:rPr>
              <a:t>+ 863</a:t>
            </a:r>
            <a:endParaRPr lang="ru-RU" sz="12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78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8" name="Слайд think-cell" r:id="rId12" imgW="624" imgH="635" progId="TCLayout.ActiveDocument.1">
                  <p:embed/>
                </p:oleObj>
              </mc:Choice>
              <mc:Fallback>
                <p:oleObj name="Слайд think-cell" r:id="rId12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2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ru-RU" sz="3200" b="0" dirty="0"/>
              <a:t>Подключение субъектов обращения в разрезе </a:t>
            </a:r>
            <a:r>
              <a:rPr lang="ru-RU" sz="3200" b="0" dirty="0" smtClean="0"/>
              <a:t>регионов</a:t>
            </a:r>
            <a:r>
              <a:rPr lang="ru-RU" sz="3200" dirty="0"/>
              <a:t/>
            </a:r>
            <a:br>
              <a:rPr lang="ru-RU" sz="3200" dirty="0"/>
            </a:br>
            <a:r>
              <a:rPr lang="ru-RU" sz="3200" b="0" dirty="0" smtClean="0"/>
              <a:t>(</a:t>
            </a:r>
            <a:r>
              <a:rPr lang="ru-RU" sz="3200" dirty="0" smtClean="0"/>
              <a:t>по </a:t>
            </a:r>
            <a:r>
              <a:rPr lang="ru-RU" sz="3200" dirty="0"/>
              <a:t>состоянию </a:t>
            </a:r>
            <a:r>
              <a:rPr lang="ru-RU" sz="3200" b="0" dirty="0"/>
              <a:t>на 24.08.2020)</a:t>
            </a:r>
          </a:p>
        </p:txBody>
      </p:sp>
      <p:sp>
        <p:nvSpPr>
          <p:cNvPr id="3" name="Прямоугольник 44">
            <a:extLst>
              <a:ext uri="{FF2B5EF4-FFF2-40B4-BE49-F238E27FC236}">
                <a16:creationId xmlns:a16="http://schemas.microsoft.com/office/drawing/2014/main" id="{54D0F3D2-D142-CD44-AFBB-4E659CC6D67B}"/>
              </a:ext>
            </a:extLst>
          </p:cNvPr>
          <p:cNvSpPr/>
          <p:nvPr/>
        </p:nvSpPr>
        <p:spPr>
          <a:xfrm>
            <a:off x="1336150" y="2074159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 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более 7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4" name="ee4pHeader1">
            <a:extLst>
              <a:ext uri="{FF2B5EF4-FFF2-40B4-BE49-F238E27FC236}">
                <a16:creationId xmlns:a16="http://schemas.microsoft.com/office/drawing/2014/main" id="{8E0F3D5C-93D0-1E4D-A107-223B1176451C}"/>
              </a:ext>
            </a:extLst>
          </p:cNvPr>
          <p:cNvSpPr txBox="1"/>
          <p:nvPr/>
        </p:nvSpPr>
        <p:spPr>
          <a:xfrm>
            <a:off x="552805" y="1370822"/>
            <a:ext cx="2371842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Дистрибьютеры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3534951" y="1341751"/>
            <a:ext cx="2752830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Аптечные организации 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 flipH="1">
            <a:off x="3250809" y="1559557"/>
            <a:ext cx="11890" cy="4769959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8440618" y="1341751"/>
            <a:ext cx="2752830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Мед. лицензи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6412048" y="1617043"/>
            <a:ext cx="35664" cy="4769959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63">
            <a:extLst>
              <a:ext uri="{FF2B5EF4-FFF2-40B4-BE49-F238E27FC236}">
                <a16:creationId xmlns:a16="http://schemas.microsoft.com/office/drawing/2014/main" id="{CB90B6F7-1CF5-EC4C-9ACB-DA9192DC0BE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357490" y="1787257"/>
            <a:ext cx="913116" cy="913116"/>
            <a:chOff x="6096000" y="3429000"/>
            <a:chExt cx="269875" cy="269875"/>
          </a:xfrm>
        </p:grpSpPr>
        <p:sp>
          <p:nvSpPr>
            <p:cNvPr id="11" name="background">
              <a:extLst>
                <a:ext uri="{FF2B5EF4-FFF2-40B4-BE49-F238E27FC236}">
                  <a16:creationId xmlns:a16="http://schemas.microsoft.com/office/drawing/2014/main" id="{646DDE6B-0B63-2D44-A46B-5177BD37A472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  <p:sp>
          <p:nvSpPr>
            <p:cNvPr id="12" name="arc">
              <a:extLst>
                <a:ext uri="{FF2B5EF4-FFF2-40B4-BE49-F238E27FC236}">
                  <a16:creationId xmlns:a16="http://schemas.microsoft.com/office/drawing/2014/main" id="{6E74DF6B-67E5-324E-97C3-00081F4C54EE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12461503"/>
              </a:avLst>
            </a:prstGeom>
            <a:solidFill>
              <a:srgbClr val="92D050"/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>
                <a:latin typeface="PT Sans" panose="020B0503020203020204" pitchFamily="34" charset="0"/>
              </a:endParaRPr>
            </a:p>
          </p:txBody>
        </p:sp>
        <p:sp>
          <p:nvSpPr>
            <p:cNvPr id="13" name="circle">
              <a:extLst>
                <a:ext uri="{FF2B5EF4-FFF2-40B4-BE49-F238E27FC236}">
                  <a16:creationId xmlns:a16="http://schemas.microsoft.com/office/drawing/2014/main" id="{C60232C6-DB80-844E-8FD9-7CC814BD271C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Oval 10">
            <a:extLst>
              <a:ext uri="{FF2B5EF4-FFF2-40B4-BE49-F238E27FC236}">
                <a16:creationId xmlns:a16="http://schemas.microsoft.com/office/drawing/2014/main" id="{1DC34CD2-B0B9-AB41-86EF-4238EB7AE0D1}"/>
              </a:ext>
            </a:extLst>
          </p:cNvPr>
          <p:cNvSpPr>
            <a:spLocks noChangeAspect="1"/>
          </p:cNvSpPr>
          <p:nvPr/>
        </p:nvSpPr>
        <p:spPr>
          <a:xfrm>
            <a:off x="423034" y="1852801"/>
            <a:ext cx="782028" cy="782028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" panose="020B0503020203020204" pitchFamily="34" charset="0"/>
              </a:rPr>
              <a:t>78</a:t>
            </a:r>
            <a:endParaRPr lang="en-US" sz="1400" b="1" kern="0" dirty="0">
              <a:solidFill>
                <a:srgbClr val="595959"/>
              </a:solidFill>
              <a:latin typeface="PT Sans" panose="020B0503020203020204" pitchFamily="34" charset="0"/>
            </a:endParaRPr>
          </a:p>
        </p:txBody>
      </p:sp>
      <p:sp>
        <p:nvSpPr>
          <p:cNvPr id="15" name="Прямоугольник 44">
            <a:extLst>
              <a:ext uri="{FF2B5EF4-FFF2-40B4-BE49-F238E27FC236}">
                <a16:creationId xmlns:a16="http://schemas.microsoft.com/office/drawing/2014/main" id="{2BFD1594-5B3D-5F41-8FE5-072062E23F25}"/>
              </a:ext>
            </a:extLst>
          </p:cNvPr>
          <p:cNvSpPr/>
          <p:nvPr/>
        </p:nvSpPr>
        <p:spPr>
          <a:xfrm>
            <a:off x="1336150" y="3164858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 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7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и менее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16" name="Group 63">
            <a:extLst>
              <a:ext uri="{FF2B5EF4-FFF2-40B4-BE49-F238E27FC236}">
                <a16:creationId xmlns:a16="http://schemas.microsoft.com/office/drawing/2014/main" id="{77CDC38B-95FE-274F-8DBC-C8B79FDCB64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357490" y="2877956"/>
            <a:ext cx="913116" cy="913116"/>
            <a:chOff x="6096000" y="3429000"/>
            <a:chExt cx="269875" cy="269875"/>
          </a:xfrm>
        </p:grpSpPr>
        <p:sp>
          <p:nvSpPr>
            <p:cNvPr id="17" name="background">
              <a:extLst>
                <a:ext uri="{FF2B5EF4-FFF2-40B4-BE49-F238E27FC236}">
                  <a16:creationId xmlns:a16="http://schemas.microsoft.com/office/drawing/2014/main" id="{D66E4659-B351-8048-A673-BE04E012317F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  <p:sp>
          <p:nvSpPr>
            <p:cNvPr id="18" name="arc">
              <a:extLst>
                <a:ext uri="{FF2B5EF4-FFF2-40B4-BE49-F238E27FC236}">
                  <a16:creationId xmlns:a16="http://schemas.microsoft.com/office/drawing/2014/main" id="{7507E65E-8405-9F4D-A423-280058F851A9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19802770"/>
              </a:avLst>
            </a:prstGeom>
            <a:solidFill>
              <a:srgbClr val="FFC000"/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>
                <a:latin typeface="PT Sans" panose="020B0503020203020204" pitchFamily="34" charset="0"/>
              </a:endParaRPr>
            </a:p>
          </p:txBody>
        </p:sp>
        <p:sp>
          <p:nvSpPr>
            <p:cNvPr id="19" name="circle">
              <a:extLst>
                <a:ext uri="{FF2B5EF4-FFF2-40B4-BE49-F238E27FC236}">
                  <a16:creationId xmlns:a16="http://schemas.microsoft.com/office/drawing/2014/main" id="{D1D0DFA4-53D5-DD41-BE96-379D5FB6A329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20" name="Oval 10">
            <a:extLst>
              <a:ext uri="{FF2B5EF4-FFF2-40B4-BE49-F238E27FC236}">
                <a16:creationId xmlns:a16="http://schemas.microsoft.com/office/drawing/2014/main" id="{E23C4542-C488-5E46-A475-4F9B71577EFE}"/>
              </a:ext>
            </a:extLst>
          </p:cNvPr>
          <p:cNvSpPr>
            <a:spLocks noChangeAspect="1"/>
          </p:cNvSpPr>
          <p:nvPr/>
        </p:nvSpPr>
        <p:spPr>
          <a:xfrm>
            <a:off x="423034" y="2943500"/>
            <a:ext cx="782028" cy="782028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" panose="020B0503020203020204" pitchFamily="34" charset="0"/>
              </a:rPr>
              <a:t>4</a:t>
            </a:r>
            <a:endParaRPr lang="en-US" sz="1400" b="1" kern="0" dirty="0">
              <a:solidFill>
                <a:srgbClr val="595959"/>
              </a:solidFill>
              <a:latin typeface="PT Sans" panose="020B0503020203020204" pitchFamily="34" charset="0"/>
            </a:endParaRPr>
          </a:p>
        </p:txBody>
      </p:sp>
      <p:sp>
        <p:nvSpPr>
          <p:cNvPr id="21" name="Прямоугольник 44">
            <a:extLst>
              <a:ext uri="{FF2B5EF4-FFF2-40B4-BE49-F238E27FC236}">
                <a16:creationId xmlns:a16="http://schemas.microsoft.com/office/drawing/2014/main" id="{6A28938D-EF90-334F-8172-6AB801A54CD8}"/>
              </a:ext>
            </a:extLst>
          </p:cNvPr>
          <p:cNvSpPr/>
          <p:nvPr/>
        </p:nvSpPr>
        <p:spPr>
          <a:xfrm>
            <a:off x="4484719" y="2074159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 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более 7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22" name="Group 63">
            <a:extLst>
              <a:ext uri="{FF2B5EF4-FFF2-40B4-BE49-F238E27FC236}">
                <a16:creationId xmlns:a16="http://schemas.microsoft.com/office/drawing/2014/main" id="{25122746-C0C1-9947-94D2-1CD088F348E6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3506059" y="1787257"/>
            <a:ext cx="913116" cy="913116"/>
            <a:chOff x="6096000" y="3429000"/>
            <a:chExt cx="269875" cy="269875"/>
          </a:xfrm>
        </p:grpSpPr>
        <p:sp>
          <p:nvSpPr>
            <p:cNvPr id="23" name="background">
              <a:extLst>
                <a:ext uri="{FF2B5EF4-FFF2-40B4-BE49-F238E27FC236}">
                  <a16:creationId xmlns:a16="http://schemas.microsoft.com/office/drawing/2014/main" id="{D5AFC194-0190-B543-8AE0-61FD2A8C48E6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  <p:sp>
          <p:nvSpPr>
            <p:cNvPr id="24" name="arc">
              <a:extLst>
                <a:ext uri="{FF2B5EF4-FFF2-40B4-BE49-F238E27FC236}">
                  <a16:creationId xmlns:a16="http://schemas.microsoft.com/office/drawing/2014/main" id="{7D919DF8-3581-694C-B8A7-B7417F816C9E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14098156"/>
              </a:avLst>
            </a:prstGeom>
            <a:solidFill>
              <a:srgbClr val="92D050"/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>
                <a:latin typeface="PT Sans" panose="020B0503020203020204" pitchFamily="34" charset="0"/>
              </a:endParaRPr>
            </a:p>
          </p:txBody>
        </p:sp>
        <p:sp>
          <p:nvSpPr>
            <p:cNvPr id="25" name="circle">
              <a:extLst>
                <a:ext uri="{FF2B5EF4-FFF2-40B4-BE49-F238E27FC236}">
                  <a16:creationId xmlns:a16="http://schemas.microsoft.com/office/drawing/2014/main" id="{6C65B9D5-C02B-5A4F-9BC6-B8B6D49A8910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26" name="Oval 10">
            <a:extLst>
              <a:ext uri="{FF2B5EF4-FFF2-40B4-BE49-F238E27FC236}">
                <a16:creationId xmlns:a16="http://schemas.microsoft.com/office/drawing/2014/main" id="{9C5FB193-232F-4544-9EE4-FA7E309856B2}"/>
              </a:ext>
            </a:extLst>
          </p:cNvPr>
          <p:cNvSpPr>
            <a:spLocks noChangeAspect="1"/>
          </p:cNvSpPr>
          <p:nvPr/>
        </p:nvSpPr>
        <p:spPr>
          <a:xfrm>
            <a:off x="3571603" y="1852801"/>
            <a:ext cx="782028" cy="782028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" panose="020B0503020203020204" pitchFamily="34" charset="0"/>
              </a:rPr>
              <a:t>82</a:t>
            </a:r>
            <a:endParaRPr lang="en-US" sz="1400" b="1" kern="0" dirty="0">
              <a:solidFill>
                <a:srgbClr val="595959"/>
              </a:solidFill>
              <a:latin typeface="PT Sans" panose="020B0503020203020204" pitchFamily="34" charset="0"/>
            </a:endParaRPr>
          </a:p>
        </p:txBody>
      </p:sp>
      <p:sp>
        <p:nvSpPr>
          <p:cNvPr id="27" name="Прямоугольник 44">
            <a:extLst>
              <a:ext uri="{FF2B5EF4-FFF2-40B4-BE49-F238E27FC236}">
                <a16:creationId xmlns:a16="http://schemas.microsoft.com/office/drawing/2014/main" id="{879C9C54-6C8D-3D4D-A7CD-E5B0FC0EAC49}"/>
              </a:ext>
            </a:extLst>
          </p:cNvPr>
          <p:cNvSpPr/>
          <p:nvPr/>
        </p:nvSpPr>
        <p:spPr>
          <a:xfrm>
            <a:off x="4484719" y="3164858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 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менее 7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28" name="Group 63">
            <a:extLst>
              <a:ext uri="{FF2B5EF4-FFF2-40B4-BE49-F238E27FC236}">
                <a16:creationId xmlns:a16="http://schemas.microsoft.com/office/drawing/2014/main" id="{8CCD0BAA-8AEA-ED4E-B6BB-EBFFD90F0B4D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506059" y="2877956"/>
            <a:ext cx="913116" cy="913116"/>
            <a:chOff x="6096000" y="3429000"/>
            <a:chExt cx="269875" cy="269875"/>
          </a:xfrm>
        </p:grpSpPr>
        <p:sp>
          <p:nvSpPr>
            <p:cNvPr id="29" name="background">
              <a:extLst>
                <a:ext uri="{FF2B5EF4-FFF2-40B4-BE49-F238E27FC236}">
                  <a16:creationId xmlns:a16="http://schemas.microsoft.com/office/drawing/2014/main" id="{5DFF3EC4-D400-D844-8D71-31AE2102A706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  <p:sp>
          <p:nvSpPr>
            <p:cNvPr id="30" name="arc">
              <a:extLst>
                <a:ext uri="{FF2B5EF4-FFF2-40B4-BE49-F238E27FC236}">
                  <a16:creationId xmlns:a16="http://schemas.microsoft.com/office/drawing/2014/main" id="{17CB1E7B-F77C-C54D-9431-54D473EDA286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18335435"/>
              </a:avLst>
            </a:prstGeom>
            <a:solidFill>
              <a:srgbClr val="FFC000"/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>
                <a:latin typeface="PT Sans" panose="020B0503020203020204" pitchFamily="34" charset="0"/>
              </a:endParaRPr>
            </a:p>
          </p:txBody>
        </p:sp>
        <p:sp>
          <p:nvSpPr>
            <p:cNvPr id="31" name="circle">
              <a:extLst>
                <a:ext uri="{FF2B5EF4-FFF2-40B4-BE49-F238E27FC236}">
                  <a16:creationId xmlns:a16="http://schemas.microsoft.com/office/drawing/2014/main" id="{F71DA8F7-AAAE-4A4E-86BC-A715F8613840}"/>
                </a:ext>
              </a:extLst>
            </p:cNvPr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95959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595959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32" name="Oval 10">
            <a:extLst>
              <a:ext uri="{FF2B5EF4-FFF2-40B4-BE49-F238E27FC236}">
                <a16:creationId xmlns:a16="http://schemas.microsoft.com/office/drawing/2014/main" id="{4664168C-DE41-FE4A-8552-EC33C5C16053}"/>
              </a:ext>
            </a:extLst>
          </p:cNvPr>
          <p:cNvSpPr>
            <a:spLocks noChangeAspect="1"/>
          </p:cNvSpPr>
          <p:nvPr/>
        </p:nvSpPr>
        <p:spPr>
          <a:xfrm>
            <a:off x="3571603" y="2943500"/>
            <a:ext cx="782028" cy="782028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" panose="020B0503020203020204" pitchFamily="34" charset="0"/>
              </a:rPr>
              <a:t>4</a:t>
            </a:r>
            <a:endParaRPr lang="en-US" sz="1400" b="1" kern="0" dirty="0">
              <a:solidFill>
                <a:srgbClr val="595959"/>
              </a:solidFill>
              <a:latin typeface="PT Sans" panose="020B0503020203020204" pitchFamily="34" charset="0"/>
            </a:endParaRPr>
          </a:p>
        </p:txBody>
      </p:sp>
      <p:sp>
        <p:nvSpPr>
          <p:cNvPr id="33" name="Прямоугольник 44">
            <a:extLst>
              <a:ext uri="{FF2B5EF4-FFF2-40B4-BE49-F238E27FC236}">
                <a16:creationId xmlns:a16="http://schemas.microsoft.com/office/drawing/2014/main" id="{901096EB-24D6-A644-A0F3-471FC466F3BC}"/>
              </a:ext>
            </a:extLst>
          </p:cNvPr>
          <p:cNvSpPr/>
          <p:nvPr/>
        </p:nvSpPr>
        <p:spPr>
          <a:xfrm>
            <a:off x="8539984" y="1744466"/>
            <a:ext cx="1219755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более 7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E8D1F30F-8BF3-5646-8DAD-761A01CEB045}"/>
              </a:ext>
            </a:extLst>
          </p:cNvPr>
          <p:cNvGrpSpPr/>
          <p:nvPr/>
        </p:nvGrpSpPr>
        <p:grpSpPr>
          <a:xfrm>
            <a:off x="7892607" y="1583028"/>
            <a:ext cx="688277" cy="688277"/>
            <a:chOff x="8118815" y="1587971"/>
            <a:chExt cx="688277" cy="688277"/>
          </a:xfrm>
        </p:grpSpPr>
        <p:grpSp>
          <p:nvGrpSpPr>
            <p:cNvPr id="34" name="Group 63">
              <a:extLst>
                <a:ext uri="{FF2B5EF4-FFF2-40B4-BE49-F238E27FC236}">
                  <a16:creationId xmlns:a16="http://schemas.microsoft.com/office/drawing/2014/main" id="{1F67BF6B-86CC-EE4B-B0DA-B28C6FD4D426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5" name="background">
                <a:extLst>
                  <a:ext uri="{FF2B5EF4-FFF2-40B4-BE49-F238E27FC236}">
                    <a16:creationId xmlns:a16="http://schemas.microsoft.com/office/drawing/2014/main" id="{CAE0B29A-6B13-4447-94F6-F5B66077894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6" name="arc">
                <a:extLst>
                  <a:ext uri="{FF2B5EF4-FFF2-40B4-BE49-F238E27FC236}">
                    <a16:creationId xmlns:a16="http://schemas.microsoft.com/office/drawing/2014/main" id="{B939A81A-077E-B141-A4C5-F795C321CB1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666538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7" name="circle">
                <a:extLst>
                  <a:ext uri="{FF2B5EF4-FFF2-40B4-BE49-F238E27FC236}">
                    <a16:creationId xmlns:a16="http://schemas.microsoft.com/office/drawing/2014/main" id="{B289FC0B-EA1C-0A4B-AD1C-775F74FE7E2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8" name="Oval 10">
              <a:extLst>
                <a:ext uri="{FF2B5EF4-FFF2-40B4-BE49-F238E27FC236}">
                  <a16:creationId xmlns:a16="http://schemas.microsoft.com/office/drawing/2014/main" id="{241CA0D5-52D6-3D4C-8242-C5C7B125A1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4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7</a:t>
              </a:r>
            </a:p>
          </p:txBody>
        </p:sp>
      </p:grpSp>
      <p:sp>
        <p:nvSpPr>
          <p:cNvPr id="39" name="Прямоугольник 44">
            <a:extLst>
              <a:ext uri="{FF2B5EF4-FFF2-40B4-BE49-F238E27FC236}">
                <a16:creationId xmlns:a16="http://schemas.microsoft.com/office/drawing/2014/main" id="{E1A45D68-7575-8747-AA95-FB43C6443CC1}"/>
              </a:ext>
            </a:extLst>
          </p:cNvPr>
          <p:cNvSpPr/>
          <p:nvPr/>
        </p:nvSpPr>
        <p:spPr>
          <a:xfrm>
            <a:off x="10606950" y="1733084"/>
            <a:ext cx="1337789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50-7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46" name="Треугольник 45">
            <a:extLst>
              <a:ext uri="{FF2B5EF4-FFF2-40B4-BE49-F238E27FC236}">
                <a16:creationId xmlns:a16="http://schemas.microsoft.com/office/drawing/2014/main" id="{BA28579B-CBC6-C14D-988F-2A85AC9971D1}"/>
              </a:ext>
            </a:extLst>
          </p:cNvPr>
          <p:cNvSpPr/>
          <p:nvPr/>
        </p:nvSpPr>
        <p:spPr>
          <a:xfrm rot="10800000">
            <a:off x="599263" y="3787865"/>
            <a:ext cx="404252" cy="333284"/>
          </a:xfrm>
          <a:prstGeom prst="triangle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48" name="Треугольник 47">
            <a:extLst>
              <a:ext uri="{FF2B5EF4-FFF2-40B4-BE49-F238E27FC236}">
                <a16:creationId xmlns:a16="http://schemas.microsoft.com/office/drawing/2014/main" id="{69528441-375E-8045-B327-E19F85CD38F9}"/>
              </a:ext>
            </a:extLst>
          </p:cNvPr>
          <p:cNvSpPr/>
          <p:nvPr/>
        </p:nvSpPr>
        <p:spPr>
          <a:xfrm rot="10800000">
            <a:off x="3783215" y="3804209"/>
            <a:ext cx="404252" cy="333284"/>
          </a:xfrm>
          <a:prstGeom prst="triangle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49" name="Прямоугольник 44">
            <a:extLst>
              <a:ext uri="{FF2B5EF4-FFF2-40B4-BE49-F238E27FC236}">
                <a16:creationId xmlns:a16="http://schemas.microsoft.com/office/drawing/2014/main" id="{5D27C490-D535-D944-BD61-EB9496F67A39}"/>
              </a:ext>
            </a:extLst>
          </p:cNvPr>
          <p:cNvSpPr/>
          <p:nvPr/>
        </p:nvSpPr>
        <p:spPr>
          <a:xfrm>
            <a:off x="9493999" y="2606380"/>
            <a:ext cx="1612420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еспечили подключени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менее  50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%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воих организаций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41EA51B5-4F1E-814A-A76B-239131742E27}"/>
              </a:ext>
            </a:extLst>
          </p:cNvPr>
          <p:cNvGrpSpPr/>
          <p:nvPr/>
        </p:nvGrpSpPr>
        <p:grpSpPr>
          <a:xfrm>
            <a:off x="9918673" y="1617043"/>
            <a:ext cx="688277" cy="688277"/>
            <a:chOff x="8118815" y="1587971"/>
            <a:chExt cx="688277" cy="688277"/>
          </a:xfrm>
        </p:grpSpPr>
        <p:grpSp>
          <p:nvGrpSpPr>
            <p:cNvPr id="59" name="Group 63">
              <a:extLst>
                <a:ext uri="{FF2B5EF4-FFF2-40B4-BE49-F238E27FC236}">
                  <a16:creationId xmlns:a16="http://schemas.microsoft.com/office/drawing/2014/main" id="{2983B028-B9D5-754E-AFB7-23345556DAD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1" name="background">
                <a:extLst>
                  <a:ext uri="{FF2B5EF4-FFF2-40B4-BE49-F238E27FC236}">
                    <a16:creationId xmlns:a16="http://schemas.microsoft.com/office/drawing/2014/main" id="{F5BD19EF-0EBC-6348-8BD4-E9C8D4E16C63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62" name="arc">
                <a:extLst>
                  <a:ext uri="{FF2B5EF4-FFF2-40B4-BE49-F238E27FC236}">
                    <a16:creationId xmlns:a16="http://schemas.microsoft.com/office/drawing/2014/main" id="{1D07B49C-0C85-A44D-B8C6-501203A6B86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3764757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63" name="circle">
                <a:extLst>
                  <a:ext uri="{FF2B5EF4-FFF2-40B4-BE49-F238E27FC236}">
                    <a16:creationId xmlns:a16="http://schemas.microsoft.com/office/drawing/2014/main" id="{2FAD12EA-91D4-9942-81E8-5639429E5AD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0" name="Oval 10">
              <a:extLst>
                <a:ext uri="{FF2B5EF4-FFF2-40B4-BE49-F238E27FC236}">
                  <a16:creationId xmlns:a16="http://schemas.microsoft.com/office/drawing/2014/main" id="{70C1FDC5-7F64-FA4B-A131-328CC26ECF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4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1</a:t>
              </a:r>
              <a:endParaRPr lang="en-US" sz="14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49A7203D-BC42-9548-AEFA-32CE379768BF}"/>
              </a:ext>
            </a:extLst>
          </p:cNvPr>
          <p:cNvGrpSpPr/>
          <p:nvPr/>
        </p:nvGrpSpPr>
        <p:grpSpPr>
          <a:xfrm>
            <a:off x="8805722" y="2462398"/>
            <a:ext cx="688277" cy="688277"/>
            <a:chOff x="8118815" y="1587971"/>
            <a:chExt cx="688277" cy="688277"/>
          </a:xfrm>
        </p:grpSpPr>
        <p:grpSp>
          <p:nvGrpSpPr>
            <p:cNvPr id="65" name="Group 63">
              <a:extLst>
                <a:ext uri="{FF2B5EF4-FFF2-40B4-BE49-F238E27FC236}">
                  <a16:creationId xmlns:a16="http://schemas.microsoft.com/office/drawing/2014/main" id="{43D5570C-B583-5948-964E-C68C239701B6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7" name="background">
                <a:extLst>
                  <a:ext uri="{FF2B5EF4-FFF2-40B4-BE49-F238E27FC236}">
                    <a16:creationId xmlns:a16="http://schemas.microsoft.com/office/drawing/2014/main" id="{2E278B1D-6336-1344-A37E-8E7B0E9B1A0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68" name="arc">
                <a:extLst>
                  <a:ext uri="{FF2B5EF4-FFF2-40B4-BE49-F238E27FC236}">
                    <a16:creationId xmlns:a16="http://schemas.microsoft.com/office/drawing/2014/main" id="{71062017-B81C-AC4C-AB32-4859E44B9E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3216462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69" name="circle">
                <a:extLst>
                  <a:ext uri="{FF2B5EF4-FFF2-40B4-BE49-F238E27FC236}">
                    <a16:creationId xmlns:a16="http://schemas.microsoft.com/office/drawing/2014/main" id="{141A3084-513E-274D-9618-E50C82AC844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6" name="Oval 10">
              <a:extLst>
                <a:ext uri="{FF2B5EF4-FFF2-40B4-BE49-F238E27FC236}">
                  <a16:creationId xmlns:a16="http://schemas.microsoft.com/office/drawing/2014/main" id="{EBE31145-99DD-2243-96F7-89DFB79957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4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8</a:t>
              </a:r>
              <a:endParaRPr lang="en-US" sz="14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71" name="Треугольник 70">
            <a:extLst>
              <a:ext uri="{FF2B5EF4-FFF2-40B4-BE49-F238E27FC236}">
                <a16:creationId xmlns:a16="http://schemas.microsoft.com/office/drawing/2014/main" id="{17D7A45B-52DD-B24B-A8B3-2F01B7D5CB34}"/>
              </a:ext>
            </a:extLst>
          </p:cNvPr>
          <p:cNvSpPr/>
          <p:nvPr/>
        </p:nvSpPr>
        <p:spPr>
          <a:xfrm rot="10800000">
            <a:off x="8969214" y="3168140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0A55537C-54D3-E242-B7CB-02640C43D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262133"/>
              </p:ext>
            </p:extLst>
          </p:nvPr>
        </p:nvGraphicFramePr>
        <p:xfrm>
          <a:off x="173522" y="4295534"/>
          <a:ext cx="2822149" cy="1598734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687028">
                  <a:extLst>
                    <a:ext uri="{9D8B030D-6E8A-4147-A177-3AD203B41FA5}">
                      <a16:colId xmlns:a16="http://schemas.microsoft.com/office/drawing/2014/main" val="599061386"/>
                    </a:ext>
                  </a:extLst>
                </a:gridCol>
                <a:gridCol w="630977">
                  <a:extLst>
                    <a:ext uri="{9D8B030D-6E8A-4147-A177-3AD203B41FA5}">
                      <a16:colId xmlns:a16="http://schemas.microsoft.com/office/drawing/2014/main" val="4053903532"/>
                    </a:ext>
                  </a:extLst>
                </a:gridCol>
                <a:gridCol w="504144">
                  <a:extLst>
                    <a:ext uri="{9D8B030D-6E8A-4147-A177-3AD203B41FA5}">
                      <a16:colId xmlns:a16="http://schemas.microsoft.com/office/drawing/2014/main" val="1026205110"/>
                    </a:ext>
                  </a:extLst>
                </a:gridCol>
              </a:tblGrid>
              <a:tr h="22091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гистрация</a:t>
                      </a:r>
                      <a:endParaRPr lang="en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76652993"/>
                  </a:ext>
                </a:extLst>
              </a:tr>
              <a:tr h="22091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en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endParaRPr lang="en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14145"/>
                  </a:ext>
                </a:extLst>
              </a:tr>
              <a:tr h="185512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байкальский край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5849010"/>
                  </a:ext>
                </a:extLst>
              </a:tr>
              <a:tr h="17407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Алтай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304475"/>
                  </a:ext>
                </a:extLst>
              </a:tr>
              <a:tr h="19213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Калмыкия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7626091"/>
                  </a:ext>
                </a:extLst>
              </a:tr>
              <a:tr h="19213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ловск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554026"/>
                  </a:ext>
                </a:extLst>
              </a:tr>
              <a:tr h="19213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9466307"/>
                  </a:ext>
                </a:extLst>
              </a:tr>
              <a:tr h="22091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5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8569733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B8B5437B-3692-254E-8BBB-0FCA25F6D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9912882"/>
              </p:ext>
            </p:extLst>
          </p:nvPr>
        </p:nvGraphicFramePr>
        <p:xfrm>
          <a:off x="3339020" y="4285406"/>
          <a:ext cx="3073028" cy="1312447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614655">
                  <a:extLst>
                    <a:ext uri="{9D8B030D-6E8A-4147-A177-3AD203B41FA5}">
                      <a16:colId xmlns:a16="http://schemas.microsoft.com/office/drawing/2014/main" val="3324481302"/>
                    </a:ext>
                  </a:extLst>
                </a:gridCol>
                <a:gridCol w="720485">
                  <a:extLst>
                    <a:ext uri="{9D8B030D-6E8A-4147-A177-3AD203B41FA5}">
                      <a16:colId xmlns:a16="http://schemas.microsoft.com/office/drawing/2014/main" val="2460511775"/>
                    </a:ext>
                  </a:extLst>
                </a:gridCol>
                <a:gridCol w="737888">
                  <a:extLst>
                    <a:ext uri="{9D8B030D-6E8A-4147-A177-3AD203B41FA5}">
                      <a16:colId xmlns:a16="http://schemas.microsoft.com/office/drawing/2014/main" val="4177305620"/>
                    </a:ext>
                  </a:extLst>
                </a:gridCol>
              </a:tblGrid>
              <a:tr h="324771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гистрация</a:t>
                      </a:r>
                      <a:endParaRPr lang="en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52284532"/>
                  </a:ext>
                </a:extLst>
              </a:tr>
              <a:tr h="212651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en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endParaRPr lang="en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2447980"/>
                  </a:ext>
                </a:extLst>
              </a:tr>
              <a:tr h="263686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. Москва</a:t>
                      </a: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7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9237077"/>
                  </a:ext>
                </a:extLst>
              </a:tr>
              <a:tr h="172249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97010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959626"/>
                  </a:ext>
                </a:extLst>
              </a:tr>
              <a:tr h="64416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6561802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86B10BAC-82AA-A54E-9C02-560B98DF67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374182"/>
              </p:ext>
            </p:extLst>
          </p:nvPr>
        </p:nvGraphicFramePr>
        <p:xfrm>
          <a:off x="6510229" y="3682819"/>
          <a:ext cx="2652182" cy="2820611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731477">
                  <a:extLst>
                    <a:ext uri="{9D8B030D-6E8A-4147-A177-3AD203B41FA5}">
                      <a16:colId xmlns:a16="http://schemas.microsoft.com/office/drawing/2014/main" val="939146681"/>
                    </a:ext>
                  </a:extLst>
                </a:gridCol>
                <a:gridCol w="472997">
                  <a:extLst>
                    <a:ext uri="{9D8B030D-6E8A-4147-A177-3AD203B41FA5}">
                      <a16:colId xmlns:a16="http://schemas.microsoft.com/office/drawing/2014/main" val="1445965239"/>
                    </a:ext>
                  </a:extLst>
                </a:gridCol>
                <a:gridCol w="447708">
                  <a:extLst>
                    <a:ext uri="{9D8B030D-6E8A-4147-A177-3AD203B41FA5}">
                      <a16:colId xmlns:a16="http://schemas.microsoft.com/office/drawing/2014/main" val="2406808560"/>
                    </a:ext>
                  </a:extLst>
                </a:gridCol>
              </a:tblGrid>
              <a:tr h="167367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81" marR="7581" marT="7581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гистрация</a:t>
                      </a:r>
                      <a:endParaRPr lang="en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1" marR="7581" marT="7581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81" marR="7581" marT="7581" marB="0" anchor="b"/>
                </a:tc>
                <a:extLst>
                  <a:ext uri="{0D108BD9-81ED-4DB2-BD59-A6C34878D82A}">
                    <a16:rowId xmlns:a16="http://schemas.microsoft.com/office/drawing/2014/main" val="1828270384"/>
                  </a:ext>
                </a:extLst>
              </a:tr>
              <a:tr h="167367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81" marR="7581" marT="758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en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1" marR="7581" marT="758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endParaRPr lang="en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81" marR="7581" marT="758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1529164"/>
                  </a:ext>
                </a:extLst>
              </a:tr>
              <a:tr h="34478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врейская автономн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292674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мский край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693772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верск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52820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арск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3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7406286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Саха (Якутия)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8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8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381617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4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487846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. Санкт-Петербург</a:t>
                      </a: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8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101405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гаданск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1477671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. Москва</a:t>
                      </a: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5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7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285203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6707928"/>
                  </a:ext>
                </a:extLst>
              </a:tr>
              <a:tr h="17737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793849"/>
                  </a:ext>
                </a:extLst>
              </a:tr>
              <a:tr h="185344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626824"/>
                  </a:ext>
                </a:extLst>
              </a:tr>
              <a:tr h="18202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764902"/>
                  </a:ext>
                </a:extLst>
              </a:tr>
            </a:tbl>
          </a:graphicData>
        </a:graphic>
      </p:graphicFrame>
      <p:graphicFrame>
        <p:nvGraphicFramePr>
          <p:cNvPr id="52" name="Table 51">
            <a:extLst>
              <a:ext uri="{FF2B5EF4-FFF2-40B4-BE49-F238E27FC236}">
                <a16:creationId xmlns:a16="http://schemas.microsoft.com/office/drawing/2014/main" id="{BAE5793F-A9DF-914F-BB2C-B4A5AF52B0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324838"/>
              </p:ext>
            </p:extLst>
          </p:nvPr>
        </p:nvGraphicFramePr>
        <p:xfrm>
          <a:off x="9224928" y="3682819"/>
          <a:ext cx="2854841" cy="2178508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680867">
                  <a:extLst>
                    <a:ext uri="{9D8B030D-6E8A-4147-A177-3AD203B41FA5}">
                      <a16:colId xmlns:a16="http://schemas.microsoft.com/office/drawing/2014/main" val="716766437"/>
                    </a:ext>
                  </a:extLst>
                </a:gridCol>
                <a:gridCol w="699389">
                  <a:extLst>
                    <a:ext uri="{9D8B030D-6E8A-4147-A177-3AD203B41FA5}">
                      <a16:colId xmlns:a16="http://schemas.microsoft.com/office/drawing/2014/main" val="1686480316"/>
                    </a:ext>
                  </a:extLst>
                </a:gridCol>
                <a:gridCol w="474585">
                  <a:extLst>
                    <a:ext uri="{9D8B030D-6E8A-4147-A177-3AD203B41FA5}">
                      <a16:colId xmlns:a16="http://schemas.microsoft.com/office/drawing/2014/main" val="23116057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1" marR="9331" marT="9331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гистрация</a:t>
                      </a:r>
                      <a:endParaRPr lang="en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1" marR="9331" marT="9331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31" marR="9331" marT="9331" marB="0" anchor="b"/>
                </a:tc>
                <a:extLst>
                  <a:ext uri="{0D108BD9-81ED-4DB2-BD59-A6C34878D82A}">
                    <a16:rowId xmlns:a16="http://schemas.microsoft.com/office/drawing/2014/main" val="2513086365"/>
                  </a:ext>
                </a:extLst>
              </a:tr>
              <a:tr h="15751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1" marR="9331" marT="933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en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1" marR="9331" marT="9331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endParaRPr lang="en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1" marR="9331" marT="9331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1063879"/>
                  </a:ext>
                </a:extLst>
              </a:tr>
              <a:tr h="15460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бардино-Балкарская Республика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8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8214884"/>
                  </a:ext>
                </a:extLst>
              </a:tr>
              <a:tr h="15460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логодск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665137"/>
                  </a:ext>
                </a:extLst>
              </a:tr>
              <a:tr h="15460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ловская область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7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8047352"/>
                  </a:ext>
                </a:extLst>
              </a:tr>
              <a:tr h="177678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308342"/>
                  </a:ext>
                </a:extLst>
              </a:tr>
              <a:tr h="154607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Крым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42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277483"/>
                  </a:ext>
                </a:extLst>
              </a:tr>
              <a:tr h="181549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0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3083459"/>
                  </a:ext>
                </a:extLst>
              </a:tr>
              <a:tr h="170513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6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094767"/>
                  </a:ext>
                </a:extLst>
              </a:tr>
              <a:tr h="158750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1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6996464"/>
                  </a:ext>
                </a:extLst>
              </a:tr>
              <a:tr h="94195"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. Байконур</a:t>
                      </a:r>
                      <a:endParaRPr lang="ru-RU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05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111857"/>
                  </a:ext>
                </a:extLst>
              </a:tr>
            </a:tbl>
          </a:graphicData>
        </a:graphic>
      </p:graphicFrame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CFCC11C-C022-49E4-857C-4C70576360CC}"/>
              </a:ext>
            </a:extLst>
          </p:cNvPr>
          <p:cNvSpPr/>
          <p:nvPr/>
        </p:nvSpPr>
        <p:spPr>
          <a:xfrm>
            <a:off x="8156210" y="2295713"/>
            <a:ext cx="8216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B050"/>
                </a:solidFill>
                <a:latin typeface="PT Sans" panose="020B0503020203020204" pitchFamily="34" charset="0"/>
              </a:rPr>
              <a:t>+4</a:t>
            </a:r>
            <a:endParaRPr lang="ru-RU" sz="1400" dirty="0">
              <a:solidFill>
                <a:srgbClr val="00B050"/>
              </a:solidFill>
            </a:endParaRPr>
          </a:p>
        </p:txBody>
      </p:sp>
      <p:sp>
        <p:nvSpPr>
          <p:cNvPr id="47" name="Прямоугольник 44">
            <a:extLst>
              <a:ext uri="{FF2B5EF4-FFF2-40B4-BE49-F238E27FC236}">
                <a16:creationId xmlns:a16="http://schemas.microsoft.com/office/drawing/2014/main" id="{2DD9DD07-BB9E-4994-A4AA-1E58D5C05B56}"/>
              </a:ext>
            </a:extLst>
          </p:cNvPr>
          <p:cNvSpPr/>
          <p:nvPr/>
        </p:nvSpPr>
        <p:spPr>
          <a:xfrm>
            <a:off x="9554167" y="2971987"/>
            <a:ext cx="114267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900" b="1" dirty="0">
              <a:solidFill>
                <a:srgbClr val="37373A"/>
              </a:solidFill>
              <a:latin typeface="PT Sans" panose="020B0503020203020204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5DB8B128-2D25-46B4-A984-0A8287F93F8C}"/>
              </a:ext>
            </a:extLst>
          </p:cNvPr>
          <p:cNvSpPr/>
          <p:nvPr/>
        </p:nvSpPr>
        <p:spPr>
          <a:xfrm>
            <a:off x="10506271" y="2089523"/>
            <a:ext cx="114267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>
                <a:solidFill>
                  <a:srgbClr val="00B050"/>
                </a:solidFill>
                <a:latin typeface="PT Sans" panose="020B0503020203020204" pitchFamily="34" charset="0"/>
              </a:rPr>
              <a:t>+1</a:t>
            </a:r>
            <a:endParaRPr lang="en-US" sz="900" b="1" dirty="0">
              <a:solidFill>
                <a:srgbClr val="00B050"/>
              </a:solidFill>
              <a:latin typeface="PT Sans" panose="020B0503020203020204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369A3883-918B-453D-A63F-AF5230B7825D}"/>
              </a:ext>
            </a:extLst>
          </p:cNvPr>
          <p:cNvSpPr/>
          <p:nvPr/>
        </p:nvSpPr>
        <p:spPr>
          <a:xfrm>
            <a:off x="9433634" y="3124766"/>
            <a:ext cx="114267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>
                <a:solidFill>
                  <a:srgbClr val="37373A"/>
                </a:solidFill>
                <a:latin typeface="PT Sans" panose="020B0503020203020204" pitchFamily="34" charset="0"/>
              </a:rPr>
              <a:t>-5</a:t>
            </a:r>
            <a:endParaRPr lang="en-US" sz="900" b="1" dirty="0">
              <a:solidFill>
                <a:srgbClr val="37373A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51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Слайд think-cell" r:id="rId13" imgW="624" imgH="635" progId="TCLayout.ActiveDocument.1">
                  <p:embed/>
                </p:oleObj>
              </mc:Choice>
              <mc:Fallback>
                <p:oleObj name="Слайд think-cell" r:id="rId13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dirty="0">
                <a:latin typeface="+mj-lt"/>
              </a:rPr>
              <a:t>Регистрация участников оборота </a:t>
            </a:r>
            <a:r>
              <a:rPr lang="ru-RU" sz="3200" dirty="0" smtClean="0">
                <a:latin typeface="+mj-lt"/>
              </a:rPr>
              <a:t>в </a:t>
            </a:r>
            <a:r>
              <a:rPr lang="ru-RU" sz="3200" dirty="0">
                <a:latin typeface="+mj-lt"/>
              </a:rPr>
              <a:t>ГИС МТ</a:t>
            </a:r>
            <a:br>
              <a:rPr lang="ru-RU" sz="3200" dirty="0">
                <a:latin typeface="+mj-lt"/>
              </a:rPr>
            </a:br>
            <a:r>
              <a:rPr lang="ru-RU" sz="3200" dirty="0">
                <a:latin typeface="+mj-lt"/>
              </a:rPr>
              <a:t> ТГ Табак. 24.08.2020 (динамика с 11 по 24 августа)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1079853" y="2953569"/>
            <a:ext cx="2261429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я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1097949" y="3919820"/>
            <a:ext cx="2446767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122347" y="4744963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92 </a:t>
            </a:r>
            <a:r>
              <a:rPr lang="ru-RU" sz="1400" b="1" kern="0" dirty="0" smtClean="0">
                <a:solidFill>
                  <a:srgbClr val="595959"/>
                </a:solidFill>
                <a:latin typeface="PT Sans Caption" panose="020B0603020203020204" charset="0"/>
              </a:rPr>
              <a:t>797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122347" y="3677134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122347" y="2640683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>
                <a:solidFill>
                  <a:srgbClr val="595959"/>
                </a:solidFill>
                <a:latin typeface="PT Sans Caption" panose="020B0603020203020204" charset="0"/>
              </a:rPr>
              <a:t>6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99 443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id="{5B3ECD85-31A4-644B-B0E3-06BD9D66B5EA}"/>
              </a:ext>
            </a:extLst>
          </p:cNvPr>
          <p:cNvSpPr/>
          <p:nvPr/>
        </p:nvSpPr>
        <p:spPr>
          <a:xfrm>
            <a:off x="-124311" y="124966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63C179A3-BFFA-6944-9927-1E189757F8DE}"/>
              </a:ext>
            </a:extLst>
          </p:cNvPr>
          <p:cNvGrpSpPr/>
          <p:nvPr/>
        </p:nvGrpSpPr>
        <p:grpSpPr>
          <a:xfrm>
            <a:off x="8059324" y="5658984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 136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6B314B2-CDE5-4141-B815-5452F4C429E2}"/>
              </a:ext>
            </a:extLst>
          </p:cNvPr>
          <p:cNvSpPr txBox="1"/>
          <p:nvPr/>
        </p:nvSpPr>
        <p:spPr>
          <a:xfrm>
            <a:off x="9106750" y="5783247"/>
            <a:ext cx="25477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Северо-Кавказский ФО</a:t>
            </a:r>
          </a:p>
          <a:p>
            <a:endParaRPr lang="ru-RU" sz="1400" dirty="0"/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id="{BDEA2DEC-CBD8-C84D-A430-684A02471478}"/>
              </a:ext>
            </a:extLst>
          </p:cNvPr>
          <p:cNvSpPr/>
          <p:nvPr/>
        </p:nvSpPr>
        <p:spPr>
          <a:xfrm>
            <a:off x="7655072" y="1908484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89315F-C848-9C4C-9453-0C2F8F45B510}"/>
              </a:ext>
            </a:extLst>
          </p:cNvPr>
          <p:cNvSpPr txBox="1"/>
          <p:nvPr/>
        </p:nvSpPr>
        <p:spPr>
          <a:xfrm>
            <a:off x="9106750" y="1950488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id="{592B0DE4-559D-6042-A7A1-72FA39EF9B7F}"/>
              </a:ext>
            </a:extLst>
          </p:cNvPr>
          <p:cNvSpPr/>
          <p:nvPr/>
        </p:nvSpPr>
        <p:spPr>
          <a:xfrm rot="10800000">
            <a:off x="4036202" y="4865290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id="{408FA713-7E6F-374D-B7CB-E23A326BEF8B}"/>
              </a:ext>
            </a:extLst>
          </p:cNvPr>
          <p:cNvSpPr txBox="1"/>
          <p:nvPr/>
        </p:nvSpPr>
        <p:spPr>
          <a:xfrm>
            <a:off x="1115780" y="5080674"/>
            <a:ext cx="2751173" cy="43088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рганизации оптовой и розничной торговли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id="{932CC376-C751-9A44-A3DB-896310FAEE8F}"/>
              </a:ext>
            </a:extLst>
          </p:cNvPr>
          <p:cNvSpPr/>
          <p:nvPr/>
        </p:nvSpPr>
        <p:spPr>
          <a:xfrm>
            <a:off x="3648431" y="124966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,</a:t>
            </a:r>
          </a:p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прирост за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неделю в разрезе субъектов РФ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id="{F3EF5918-30AA-494C-BC4C-E5A6BB4CFED0}"/>
              </a:ext>
            </a:extLst>
          </p:cNvPr>
          <p:cNvSpPr/>
          <p:nvPr/>
        </p:nvSpPr>
        <p:spPr>
          <a:xfrm>
            <a:off x="7841677" y="124966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CCEEAE3-2B18-E942-83FF-B69D3E0B2723}"/>
              </a:ext>
            </a:extLst>
          </p:cNvPr>
          <p:cNvSpPr txBox="1"/>
          <p:nvPr/>
        </p:nvSpPr>
        <p:spPr>
          <a:xfrm>
            <a:off x="9106750" y="2531113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Приволжски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4B061B5-C2E4-504D-A271-6815F368FDB0}"/>
              </a:ext>
            </a:extLst>
          </p:cNvPr>
          <p:cNvSpPr txBox="1"/>
          <p:nvPr/>
        </p:nvSpPr>
        <p:spPr>
          <a:xfrm>
            <a:off x="9106750" y="3003617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Южный ФО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CBCAA9-4187-B849-80B4-10335275907C}"/>
              </a:ext>
            </a:extLst>
          </p:cNvPr>
          <p:cNvSpPr txBox="1"/>
          <p:nvPr/>
        </p:nvSpPr>
        <p:spPr>
          <a:xfrm>
            <a:off x="9106750" y="3531876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ибирски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851076-0A8E-9E4F-8ACC-03F3D10FE9D8}"/>
              </a:ext>
            </a:extLst>
          </p:cNvPr>
          <p:cNvSpPr txBox="1"/>
          <p:nvPr/>
        </p:nvSpPr>
        <p:spPr>
          <a:xfrm>
            <a:off x="9106750" y="4055578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еверо-Западны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1A448D3-225A-8341-A955-195C8E811F5B}"/>
              </a:ext>
            </a:extLst>
          </p:cNvPr>
          <p:cNvSpPr txBox="1"/>
          <p:nvPr/>
        </p:nvSpPr>
        <p:spPr>
          <a:xfrm>
            <a:off x="9106750" y="4531917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Уральский ФО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1AECACE-1FD5-404F-80FE-613725CA62DE}"/>
              </a:ext>
            </a:extLst>
          </p:cNvPr>
          <p:cNvSpPr txBox="1"/>
          <p:nvPr/>
        </p:nvSpPr>
        <p:spPr>
          <a:xfrm>
            <a:off x="9106750" y="5081465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Дальневосточны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80D9DF9B-6099-3C45-A6D6-D2EFBC20B0AD}"/>
              </a:ext>
            </a:extLst>
          </p:cNvPr>
          <p:cNvGrpSpPr/>
          <p:nvPr/>
        </p:nvGrpSpPr>
        <p:grpSpPr>
          <a:xfrm>
            <a:off x="7650626" y="2495135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6 216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3 742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BA3F02C8-FF46-754E-AE85-EDA96E3EAB73}"/>
              </a:ext>
            </a:extLst>
          </p:cNvPr>
          <p:cNvGrpSpPr/>
          <p:nvPr/>
        </p:nvGrpSpPr>
        <p:grpSpPr>
          <a:xfrm>
            <a:off x="8314284" y="2837210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5 843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63E3F51E-C022-A14A-87BF-09955838BDBA}"/>
              </a:ext>
            </a:extLst>
          </p:cNvPr>
          <p:cNvGrpSpPr/>
          <p:nvPr/>
        </p:nvGrpSpPr>
        <p:grpSpPr>
          <a:xfrm>
            <a:off x="7694278" y="3420695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4 164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C4E3EA42-608F-0B45-AE3A-1BE741CCB95B}"/>
              </a:ext>
            </a:extLst>
          </p:cNvPr>
          <p:cNvGrpSpPr/>
          <p:nvPr/>
        </p:nvGrpSpPr>
        <p:grpSpPr>
          <a:xfrm>
            <a:off x="8342879" y="3891339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 533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17310CC9-49A1-924C-BB2E-366B445A736D}"/>
              </a:ext>
            </a:extLst>
          </p:cNvPr>
          <p:cNvGrpSpPr/>
          <p:nvPr/>
        </p:nvGrpSpPr>
        <p:grpSpPr>
          <a:xfrm>
            <a:off x="7655757" y="4383234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 88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id="{E24A7DF1-E89C-5643-B09E-7C976AC8A15E}"/>
              </a:ext>
            </a:extLst>
          </p:cNvPr>
          <p:cNvGrpSpPr/>
          <p:nvPr/>
        </p:nvGrpSpPr>
        <p:grpSpPr>
          <a:xfrm>
            <a:off x="8330219" y="4898512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9 979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id="{B58AECD7-3C04-BA48-A139-C23D4EA36932}"/>
              </a:ext>
            </a:extLst>
          </p:cNvPr>
          <p:cNvSpPr/>
          <p:nvPr/>
        </p:nvSpPr>
        <p:spPr>
          <a:xfrm>
            <a:off x="4047773" y="2196655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id="{2BEEBB58-3CC1-0740-AEFE-25996E722948}"/>
              </a:ext>
            </a:extLst>
          </p:cNvPr>
          <p:cNvSpPr/>
          <p:nvPr/>
        </p:nvSpPr>
        <p:spPr>
          <a:xfrm rot="10800000">
            <a:off x="7676155" y="5735405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407480C-57CA-4FA3-B27C-B99AB68D48B1}"/>
              </a:ext>
            </a:extLst>
          </p:cNvPr>
          <p:cNvSpPr txBox="1"/>
          <p:nvPr/>
        </p:nvSpPr>
        <p:spPr>
          <a:xfrm>
            <a:off x="2555289" y="2198131"/>
            <a:ext cx="1127764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+725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A2D28C2-01AC-4DE5-B5E8-C05D5136F2BE}"/>
              </a:ext>
            </a:extLst>
          </p:cNvPr>
          <p:cNvSpPr txBox="1"/>
          <p:nvPr/>
        </p:nvSpPr>
        <p:spPr>
          <a:xfrm>
            <a:off x="11167305" y="1966658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265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05B7553-EFBF-4C76-B731-AC42241A7E43}"/>
              </a:ext>
            </a:extLst>
          </p:cNvPr>
          <p:cNvSpPr txBox="1"/>
          <p:nvPr/>
        </p:nvSpPr>
        <p:spPr>
          <a:xfrm>
            <a:off x="11167305" y="5081465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216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5ACE992-F82A-4E1F-BC8E-FDA490E6D87D}"/>
              </a:ext>
            </a:extLst>
          </p:cNvPr>
          <p:cNvSpPr txBox="1"/>
          <p:nvPr/>
        </p:nvSpPr>
        <p:spPr>
          <a:xfrm>
            <a:off x="11167305" y="2531113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299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1A6DE72-37E1-4087-8484-619D7B1CDEE2}"/>
              </a:ext>
            </a:extLst>
          </p:cNvPr>
          <p:cNvSpPr txBox="1"/>
          <p:nvPr/>
        </p:nvSpPr>
        <p:spPr>
          <a:xfrm>
            <a:off x="11167305" y="3531876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239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FC01D3F-7ADD-434B-8B8A-7FA4468D37C4}"/>
              </a:ext>
            </a:extLst>
          </p:cNvPr>
          <p:cNvSpPr txBox="1"/>
          <p:nvPr/>
        </p:nvSpPr>
        <p:spPr>
          <a:xfrm>
            <a:off x="11167305" y="5783247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37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AFDFF74-522D-432D-B7EB-9174E0B690B2}"/>
              </a:ext>
            </a:extLst>
          </p:cNvPr>
          <p:cNvSpPr txBox="1"/>
          <p:nvPr/>
        </p:nvSpPr>
        <p:spPr>
          <a:xfrm>
            <a:off x="11167305" y="4055578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135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5061AC8-BF66-4511-B284-26657D30CD4E}"/>
              </a:ext>
            </a:extLst>
          </p:cNvPr>
          <p:cNvSpPr txBox="1"/>
          <p:nvPr/>
        </p:nvSpPr>
        <p:spPr>
          <a:xfrm>
            <a:off x="11167305" y="4531917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132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10A5BD8C-C927-4B4D-8DD5-222A2C1A71C1}"/>
              </a:ext>
            </a:extLst>
          </p:cNvPr>
          <p:cNvSpPr txBox="1"/>
          <p:nvPr/>
        </p:nvSpPr>
        <p:spPr>
          <a:xfrm>
            <a:off x="11167305" y="3003617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</a:rPr>
              <a:t>+ 250</a:t>
            </a:r>
            <a:endParaRPr lang="en-US" sz="1400" b="1" kern="0" dirty="0">
              <a:solidFill>
                <a:srgbClr val="595959"/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EECE7FC-DACF-45E8-920E-09217B9975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103159"/>
              </p:ext>
            </p:extLst>
          </p:nvPr>
        </p:nvGraphicFramePr>
        <p:xfrm>
          <a:off x="4631956" y="2140784"/>
          <a:ext cx="2576051" cy="151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09006">
                  <a:extLst>
                    <a:ext uri="{9D8B030D-6E8A-4147-A177-3AD203B41FA5}">
                      <a16:colId xmlns:a16="http://schemas.microsoft.com/office/drawing/2014/main" val="1640168164"/>
                    </a:ext>
                  </a:extLst>
                </a:gridCol>
                <a:gridCol w="567045">
                  <a:extLst>
                    <a:ext uri="{9D8B030D-6E8A-4147-A177-3AD203B41FA5}">
                      <a16:colId xmlns:a16="http://schemas.microsoft.com/office/drawing/2014/main" val="3500967565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9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118248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kern="1200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г. </a:t>
                      </a:r>
                      <a:r>
                        <a:rPr lang="ru-RU" sz="1100" b="0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Москва</a:t>
                      </a:r>
                      <a:endParaRPr lang="ru-RU" sz="1100" b="0" i="0" u="none" strike="noStrike" dirty="0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7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35512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64736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2354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Татарстан 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5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37923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восибирская область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765941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Башкортостан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4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426986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601C4042-A469-4582-9730-023B6DD45C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0572460"/>
              </p:ext>
            </p:extLst>
          </p:nvPr>
        </p:nvGraphicFramePr>
        <p:xfrm>
          <a:off x="4599850" y="4786976"/>
          <a:ext cx="2576051" cy="16408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09006">
                  <a:extLst>
                    <a:ext uri="{9D8B030D-6E8A-4147-A177-3AD203B41FA5}">
                      <a16:colId xmlns:a16="http://schemas.microsoft.com/office/drawing/2014/main" val="1640168164"/>
                    </a:ext>
                  </a:extLst>
                </a:gridCol>
                <a:gridCol w="567045">
                  <a:extLst>
                    <a:ext uri="{9D8B030D-6E8A-4147-A177-3AD203B41FA5}">
                      <a16:colId xmlns:a16="http://schemas.microsoft.com/office/drawing/2014/main" val="3500967565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Чукотский автономный округ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118248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арачаево-Черкесская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35512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Калмыки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64736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Тыва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2354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Чеченская Республика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37923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нецкий автономный округ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765941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спублика Ингушетия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1426986"/>
                  </a:ext>
                </a:extLst>
              </a:tr>
            </a:tbl>
          </a:graphicData>
        </a:graphic>
      </p:graphicFrame>
      <p:sp>
        <p:nvSpPr>
          <p:cNvPr id="90" name="Oval 10">
            <a:extLst>
              <a:ext uri="{FF2B5EF4-FFF2-40B4-BE49-F238E27FC236}">
                <a16:creationId xmlns:a16="http://schemas.microsoft.com/office/drawing/2014/main" id="{55EB0FEE-50C7-E94C-8982-508BE42C1D30}"/>
              </a:ext>
            </a:extLst>
          </p:cNvPr>
          <p:cNvSpPr>
            <a:spLocks noChangeAspect="1"/>
          </p:cNvSpPr>
          <p:nvPr/>
        </p:nvSpPr>
        <p:spPr>
          <a:xfrm>
            <a:off x="91549" y="5842418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6  561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91" name="ee4pHeader1">
            <a:extLst>
              <a:ext uri="{FF2B5EF4-FFF2-40B4-BE49-F238E27FC236}">
                <a16:creationId xmlns:a16="http://schemas.microsoft.com/office/drawing/2014/main" id="{1BDC44D1-441F-344F-8341-8D9B54A29CAD}"/>
              </a:ext>
            </a:extLst>
          </p:cNvPr>
          <p:cNvSpPr txBox="1"/>
          <p:nvPr/>
        </p:nvSpPr>
        <p:spPr>
          <a:xfrm>
            <a:off x="1084982" y="6178129"/>
            <a:ext cx="2751173" cy="43088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Другие (указано более одной роли)</a:t>
            </a:r>
          </a:p>
        </p:txBody>
      </p:sp>
    </p:spTree>
    <p:extLst>
      <p:ext uri="{BB962C8B-B14F-4D97-AF65-F5344CB8AC3E}">
        <p14:creationId xmlns:p14="http://schemas.microsoft.com/office/powerpoint/2010/main" val="192621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3" name="Слайд think-cell" r:id="rId13" imgW="624" imgH="635" progId="TCLayout.ActiveDocument.1">
                  <p:embed/>
                </p:oleObj>
              </mc:Choice>
              <mc:Fallback>
                <p:oleObj name="Слайд think-cell" r:id="rId13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dirty="0"/>
              <a:t>Регистрация участников оборота в ГИС МТ</a:t>
            </a:r>
            <a:br>
              <a:rPr lang="ru-RU" sz="3200" dirty="0"/>
            </a:br>
            <a:r>
              <a:rPr lang="ru-RU" sz="3200" dirty="0"/>
              <a:t> ТГ </a:t>
            </a:r>
            <a:r>
              <a:rPr lang="ru-RU" sz="3200" dirty="0" smtClean="0"/>
              <a:t>Обувь. </a:t>
            </a:r>
            <a:r>
              <a:rPr lang="ru-RU" sz="3200" dirty="0"/>
              <a:t>24.08.2020 (динамика с 11 по 24 августа)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113171" y="5684206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9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 835 </a:t>
            </a:r>
          </a:p>
          <a:p>
            <a:pPr algn="ctr">
              <a:lnSpc>
                <a:spcPct val="95000"/>
              </a:lnSpc>
            </a:pPr>
            <a:r>
              <a:rPr lang="ru-RU" sz="1000" b="1" kern="0" dirty="0">
                <a:solidFill>
                  <a:srgbClr val="595959"/>
                </a:solidFill>
                <a:latin typeface="PT Sans Caption" panose="020B0603020203020204" charset="0"/>
              </a:rPr>
              <a:t>+86</a:t>
            </a:r>
            <a:endParaRPr lang="en-US" sz="10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124695" y="436204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 508 </a:t>
            </a:r>
          </a:p>
          <a:p>
            <a:pPr algn="ctr">
              <a:lnSpc>
                <a:spcPct val="95000"/>
              </a:lnSpc>
            </a:pPr>
            <a:r>
              <a:rPr lang="ru-RU" sz="1000" b="1" kern="0" dirty="0">
                <a:solidFill>
                  <a:srgbClr val="595959"/>
                </a:solidFill>
                <a:latin typeface="PT Sans Caption" panose="020B0603020203020204" charset="0"/>
              </a:rPr>
              <a:t>+55</a:t>
            </a:r>
            <a:endParaRPr lang="en-US" sz="10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id="{138AE723-297E-6946-B355-268ED4947AF2}"/>
              </a:ext>
            </a:extLst>
          </p:cNvPr>
          <p:cNvSpPr/>
          <p:nvPr/>
        </p:nvSpPr>
        <p:spPr>
          <a:xfrm>
            <a:off x="1226158" y="3442257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124695" y="3188816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 232 </a:t>
            </a:r>
          </a:p>
          <a:p>
            <a:pPr algn="ctr">
              <a:lnSpc>
                <a:spcPct val="95000"/>
              </a:lnSpc>
            </a:pPr>
            <a:r>
              <a:rPr lang="ru-RU" sz="1000" b="1" kern="0" dirty="0">
                <a:solidFill>
                  <a:srgbClr val="595959"/>
                </a:solidFill>
                <a:latin typeface="PT Sans Caption" panose="020B0603020203020204" charset="0"/>
              </a:rPr>
              <a:t>+62</a:t>
            </a:r>
            <a:endParaRPr lang="en-US" sz="10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61 604 </a:t>
            </a:r>
            <a:endParaRPr lang="ru-RU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  <a:p>
            <a:pPr algn="ctr">
              <a:lnSpc>
                <a:spcPct val="95000"/>
              </a:lnSpc>
            </a:pPr>
            <a:r>
              <a:rPr lang="en-US" sz="1200" b="1" kern="0" dirty="0">
                <a:solidFill>
                  <a:srgbClr val="595959"/>
                </a:solidFill>
                <a:latin typeface="PT Sans Caption" panose="020B0603020203020204" charset="0"/>
              </a:rPr>
              <a:t>+94</a:t>
            </a:r>
            <a:r>
              <a:rPr lang="ru-RU" sz="1200" b="1" kern="0" dirty="0">
                <a:solidFill>
                  <a:srgbClr val="595959"/>
                </a:solidFill>
                <a:latin typeface="PT Sans Caption" panose="020B0603020203020204" charset="0"/>
              </a:rPr>
              <a:t> 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id="{5B3ECD85-31A4-644B-B0E3-06BD9D66B5EA}"/>
              </a:ext>
            </a:extLst>
          </p:cNvPr>
          <p:cNvSpPr/>
          <p:nvPr/>
        </p:nvSpPr>
        <p:spPr>
          <a:xfrm>
            <a:off x="-25926" y="131069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Обувь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63C179A3-BFFA-6944-9927-1E189757F8DE}"/>
              </a:ext>
            </a:extLst>
          </p:cNvPr>
          <p:cNvGrpSpPr/>
          <p:nvPr/>
        </p:nvGrpSpPr>
        <p:grpSpPr>
          <a:xfrm>
            <a:off x="8059324" y="5658984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 194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 +81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6B314B2-CDE5-4141-B815-5452F4C429E2}"/>
              </a:ext>
            </a:extLst>
          </p:cNvPr>
          <p:cNvSpPr txBox="1"/>
          <p:nvPr/>
        </p:nvSpPr>
        <p:spPr>
          <a:xfrm>
            <a:off x="8983346" y="5860905"/>
            <a:ext cx="2547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Северо-Кавказский ФО</a:t>
            </a:r>
          </a:p>
          <a:p>
            <a:endParaRPr lang="ru-RU" dirty="0"/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id="{BDEA2DEC-CBD8-C84D-A430-684A02471478}"/>
              </a:ext>
            </a:extLst>
          </p:cNvPr>
          <p:cNvSpPr/>
          <p:nvPr/>
        </p:nvSpPr>
        <p:spPr>
          <a:xfrm>
            <a:off x="7655072" y="1908484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id="{592B0DE4-559D-6042-A7A1-72FA39EF9B7F}"/>
              </a:ext>
            </a:extLst>
          </p:cNvPr>
          <p:cNvSpPr/>
          <p:nvPr/>
        </p:nvSpPr>
        <p:spPr>
          <a:xfrm rot="10800000">
            <a:off x="3992210" y="3908678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id="{932CC376-C751-9A44-A3DB-896310FAEE8F}"/>
              </a:ext>
            </a:extLst>
          </p:cNvPr>
          <p:cNvSpPr/>
          <p:nvPr/>
        </p:nvSpPr>
        <p:spPr>
          <a:xfrm>
            <a:off x="3648431" y="1304563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4B061B5-C2E4-504D-A271-6815F368FDB0}"/>
              </a:ext>
            </a:extLst>
          </p:cNvPr>
          <p:cNvSpPr txBox="1"/>
          <p:nvPr/>
        </p:nvSpPr>
        <p:spPr>
          <a:xfrm>
            <a:off x="8954751" y="2994658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CBCAA9-4187-B849-80B4-10335275907C}"/>
              </a:ext>
            </a:extLst>
          </p:cNvPr>
          <p:cNvSpPr txBox="1"/>
          <p:nvPr/>
        </p:nvSpPr>
        <p:spPr>
          <a:xfrm>
            <a:off x="8401919" y="3569573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851076-0A8E-9E4F-8ACC-03F3D10FE9D8}"/>
              </a:ext>
            </a:extLst>
          </p:cNvPr>
          <p:cNvSpPr txBox="1"/>
          <p:nvPr/>
        </p:nvSpPr>
        <p:spPr>
          <a:xfrm>
            <a:off x="9070981" y="4010497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 - Западны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1A448D3-225A-8341-A955-195C8E811F5B}"/>
              </a:ext>
            </a:extLst>
          </p:cNvPr>
          <p:cNvSpPr txBox="1"/>
          <p:nvPr/>
        </p:nvSpPr>
        <p:spPr>
          <a:xfrm>
            <a:off x="8383859" y="4580286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1AECACE-1FD5-404F-80FE-613725CA62DE}"/>
              </a:ext>
            </a:extLst>
          </p:cNvPr>
          <p:cNvSpPr txBox="1"/>
          <p:nvPr/>
        </p:nvSpPr>
        <p:spPr>
          <a:xfrm>
            <a:off x="8960957" y="5008893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80D9DF9B-6099-3C45-A6D6-D2EFBC20B0AD}"/>
              </a:ext>
            </a:extLst>
          </p:cNvPr>
          <p:cNvGrpSpPr/>
          <p:nvPr/>
        </p:nvGrpSpPr>
        <p:grpSpPr>
          <a:xfrm>
            <a:off x="7650626" y="2495135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</a:t>
              </a: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 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75 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+371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</a:t>
              </a:r>
              <a:r>
                <a:rPr lang="en-US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5 </a:t>
              </a: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09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+574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BA3F02C8-FF46-754E-AE85-EDA96E3EAB73}"/>
              </a:ext>
            </a:extLst>
          </p:cNvPr>
          <p:cNvGrpSpPr/>
          <p:nvPr/>
        </p:nvGrpSpPr>
        <p:grpSpPr>
          <a:xfrm>
            <a:off x="8314284" y="2837210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 868 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+160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63E3F51E-C022-A14A-87BF-09955838BDBA}"/>
              </a:ext>
            </a:extLst>
          </p:cNvPr>
          <p:cNvGrpSpPr/>
          <p:nvPr/>
        </p:nvGrpSpPr>
        <p:grpSpPr>
          <a:xfrm>
            <a:off x="7694278" y="3420695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 622 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+235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C4E3EA42-608F-0B45-AE3A-1BE741CCB95B}"/>
              </a:ext>
            </a:extLst>
          </p:cNvPr>
          <p:cNvGrpSpPr/>
          <p:nvPr/>
        </p:nvGrpSpPr>
        <p:grpSpPr>
          <a:xfrm>
            <a:off x="8342879" y="3891339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 431 </a:t>
              </a:r>
            </a:p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+18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17310CC9-49A1-924C-BB2E-366B445A736D}"/>
              </a:ext>
            </a:extLst>
          </p:cNvPr>
          <p:cNvGrpSpPr/>
          <p:nvPr/>
        </p:nvGrpSpPr>
        <p:grpSpPr>
          <a:xfrm>
            <a:off x="7655757" y="4383234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5 554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 +166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id="{E24A7DF1-E89C-5643-B09E-7C976AC8A15E}"/>
              </a:ext>
            </a:extLst>
          </p:cNvPr>
          <p:cNvGrpSpPr/>
          <p:nvPr/>
        </p:nvGrpSpPr>
        <p:grpSpPr>
          <a:xfrm>
            <a:off x="8330219" y="4898512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5 344 </a:t>
              </a:r>
            </a:p>
            <a:p>
              <a:pPr algn="ctr">
                <a:lnSpc>
                  <a:spcPct val="95000"/>
                </a:lnSpc>
              </a:pPr>
              <a:r>
                <a:rPr lang="ru-RU" sz="9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+149</a:t>
              </a:r>
              <a:endParaRPr lang="en-US" sz="9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id="{B58AECD7-3C04-BA48-A139-C23D4EA36932}"/>
              </a:ext>
            </a:extLst>
          </p:cNvPr>
          <p:cNvSpPr/>
          <p:nvPr/>
        </p:nvSpPr>
        <p:spPr>
          <a:xfrm>
            <a:off x="3974332" y="2152521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8A4F4B51-B8EB-894F-8ECE-889F2FA3877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50282" y="2078765"/>
          <a:ext cx="3004664" cy="14854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03527">
                  <a:extLst>
                    <a:ext uri="{9D8B030D-6E8A-4147-A177-3AD203B41FA5}">
                      <a16:colId xmlns:a16="http://schemas.microsoft.com/office/drawing/2014/main" val="1355077869"/>
                    </a:ext>
                  </a:extLst>
                </a:gridCol>
                <a:gridCol w="1001137">
                  <a:extLst>
                    <a:ext uri="{9D8B030D-6E8A-4147-A177-3AD203B41FA5}">
                      <a16:colId xmlns:a16="http://schemas.microsoft.com/office/drawing/2014/main" val="1803677412"/>
                    </a:ext>
                  </a:extLst>
                </a:gridCol>
              </a:tblGrid>
              <a:tr h="287917">
                <a:tc>
                  <a:txBody>
                    <a:bodyPr/>
                    <a:lstStyle/>
                    <a:p>
                      <a:r>
                        <a:rPr lang="ru-RU" sz="1050" dirty="0"/>
                        <a:t>Москва город </a:t>
                      </a:r>
                      <a:endParaRPr lang="ru-RU" sz="105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4 848 (+226)</a:t>
                      </a:r>
                      <a:endParaRPr lang="ru-RU" sz="105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4911564"/>
                  </a:ext>
                </a:extLst>
              </a:tr>
              <a:tr h="299394">
                <a:tc>
                  <a:txBody>
                    <a:bodyPr/>
                    <a:lstStyle/>
                    <a:p>
                      <a:r>
                        <a:rPr lang="ru-RU" sz="1050" dirty="0"/>
                        <a:t>Свердлов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2 514 (+6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480283"/>
                  </a:ext>
                </a:extLst>
              </a:tr>
              <a:tr h="2993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Ростовская область</a:t>
                      </a:r>
                      <a:endParaRPr lang="ru-RU" sz="1050" dirty="0">
                        <a:solidFill>
                          <a:schemeClr val="dk1"/>
                        </a:solidFill>
                        <a:latin typeface="PT Sans" panose="020B05030202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2 231 (+4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2650871"/>
                  </a:ext>
                </a:extLst>
              </a:tr>
              <a:tr h="299394">
                <a:tc>
                  <a:txBody>
                    <a:bodyPr/>
                    <a:lstStyle/>
                    <a:p>
                      <a:r>
                        <a:rPr lang="ru-RU" sz="1050" dirty="0"/>
                        <a:t>Московская област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2 200 (+7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4790762"/>
                  </a:ext>
                </a:extLst>
              </a:tr>
              <a:tr h="299394">
                <a:tc>
                  <a:txBody>
                    <a:bodyPr/>
                    <a:lstStyle/>
                    <a:p>
                      <a:r>
                        <a:rPr lang="ru-RU" sz="1050" dirty="0"/>
                        <a:t>Краснодарский кра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2 115 (+6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296910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B62B6A87-126D-AC4C-B4AF-FBD9EA65D14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96462" y="3788821"/>
          <a:ext cx="2843912" cy="3154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03121">
                  <a:extLst>
                    <a:ext uri="{9D8B030D-6E8A-4147-A177-3AD203B41FA5}">
                      <a16:colId xmlns:a16="http://schemas.microsoft.com/office/drawing/2014/main" val="2908562931"/>
                    </a:ext>
                  </a:extLst>
                </a:gridCol>
                <a:gridCol w="640791">
                  <a:extLst>
                    <a:ext uri="{9D8B030D-6E8A-4147-A177-3AD203B41FA5}">
                      <a16:colId xmlns:a16="http://schemas.microsoft.com/office/drawing/2014/main" val="1121863721"/>
                    </a:ext>
                  </a:extLst>
                </a:gridCol>
              </a:tblGrid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Карачаево - Черкесская Республика 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24 (+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8755712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Магаданская область 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12 (+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3621419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Республика Калмыки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08 (+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72810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Республика Северная Осетия Алани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/>
                        <a:t>10</a:t>
                      </a:r>
                      <a:r>
                        <a:rPr lang="ru-RU" sz="1050" dirty="0"/>
                        <a:t>8 (+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7314064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Еврейская автономная область 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91 (+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4208548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Республика Тыв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64 (+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69090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/>
                        <a:t>Чеченская Республика 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42 (+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057062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Чукотский автономный округ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35 (+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3207940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Республика Ингушетия 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6 (+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489030"/>
                  </a:ext>
                </a:extLst>
              </a:tr>
              <a:tr h="244227">
                <a:tc>
                  <a:txBody>
                    <a:bodyPr/>
                    <a:lstStyle/>
                    <a:p>
                      <a:r>
                        <a:rPr lang="ru-RU" sz="1050" dirty="0"/>
                        <a:t>Ненецкий автономный окру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4 (+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7222523"/>
                  </a:ext>
                </a:extLst>
              </a:tr>
            </a:tbl>
          </a:graphicData>
        </a:graphic>
      </p:graphicFrame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id="{2BEEBB58-3CC1-0740-AEFE-25996E722948}"/>
              </a:ext>
            </a:extLst>
          </p:cNvPr>
          <p:cNvSpPr/>
          <p:nvPr/>
        </p:nvSpPr>
        <p:spPr>
          <a:xfrm rot="10800000">
            <a:off x="7676155" y="5735405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09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Слайд think-cell" r:id="rId14" imgW="624" imgH="635" progId="TCLayout.ActiveDocument.1">
                  <p:embed/>
                </p:oleObj>
              </mc:Choice>
              <mc:Fallback>
                <p:oleObj name="Слайд think-cell" r:id="rId14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86" y="134653"/>
            <a:ext cx="12017778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dirty="0"/>
              <a:t>Регистрация участников оборота в ГИС МТ</a:t>
            </a:r>
            <a:br>
              <a:rPr lang="ru-RU" sz="3200" dirty="0"/>
            </a:br>
            <a:r>
              <a:rPr lang="ru-RU" sz="3200" dirty="0"/>
              <a:t> ТГ </a:t>
            </a:r>
            <a:r>
              <a:rPr lang="ru-RU" sz="3200" dirty="0" smtClean="0"/>
              <a:t>Парфюмерия. </a:t>
            </a:r>
            <a:r>
              <a:rPr lang="ru-RU" sz="3200" dirty="0"/>
              <a:t>24.08.2020 (динамика с 11 по 24 августа)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82486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 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678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8313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5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7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id="{138AE723-297E-6946-B355-268ED4947AF2}"/>
              </a:ext>
            </a:extLst>
          </p:cNvPr>
          <p:cNvSpPr/>
          <p:nvPr/>
        </p:nvSpPr>
        <p:spPr>
          <a:xfrm>
            <a:off x="1226158" y="3442257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8313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2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1" y="1838831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4 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821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id="{5B3ECD85-31A4-644B-B0E3-06BD9D66B5EA}"/>
              </a:ext>
            </a:extLst>
          </p:cNvPr>
          <p:cNvSpPr/>
          <p:nvPr/>
        </p:nvSpPr>
        <p:spPr>
          <a:xfrm>
            <a:off x="-25926" y="131069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Парфюмерия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63C179A3-BFFA-6944-9927-1E189757F8DE}"/>
              </a:ext>
            </a:extLst>
          </p:cNvPr>
          <p:cNvGrpSpPr/>
          <p:nvPr/>
        </p:nvGrpSpPr>
        <p:grpSpPr>
          <a:xfrm>
            <a:off x="8069547" y="5883585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5205" y="1680608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23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6B314B2-CDE5-4141-B815-5452F4C429E2}"/>
              </a:ext>
            </a:extLst>
          </p:cNvPr>
          <p:cNvSpPr txBox="1"/>
          <p:nvPr/>
        </p:nvSpPr>
        <p:spPr>
          <a:xfrm>
            <a:off x="8983346" y="6095797"/>
            <a:ext cx="2547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Северо-Кавказский ФО</a:t>
            </a:r>
          </a:p>
          <a:p>
            <a:endParaRPr lang="ru-RU" dirty="0"/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id="{BDEA2DEC-CBD8-C84D-A430-684A02471478}"/>
              </a:ext>
            </a:extLst>
          </p:cNvPr>
          <p:cNvSpPr/>
          <p:nvPr/>
        </p:nvSpPr>
        <p:spPr>
          <a:xfrm>
            <a:off x="7655072" y="1875031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id="{592B0DE4-559D-6042-A7A1-72FA39EF9B7F}"/>
              </a:ext>
            </a:extLst>
          </p:cNvPr>
          <p:cNvSpPr/>
          <p:nvPr/>
        </p:nvSpPr>
        <p:spPr>
          <a:xfrm rot="10800000">
            <a:off x="3991107" y="462538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4B061B5-C2E4-504D-A271-6815F368FDB0}"/>
              </a:ext>
            </a:extLst>
          </p:cNvPr>
          <p:cNvSpPr txBox="1"/>
          <p:nvPr/>
        </p:nvSpPr>
        <p:spPr>
          <a:xfrm>
            <a:off x="8910147" y="290545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CCBCAA9-4187-B849-80B4-10335275907C}"/>
              </a:ext>
            </a:extLst>
          </p:cNvPr>
          <p:cNvSpPr txBox="1"/>
          <p:nvPr/>
        </p:nvSpPr>
        <p:spPr>
          <a:xfrm>
            <a:off x="8401919" y="342696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851076-0A8E-9E4F-8ACC-03F3D10FE9D8}"/>
              </a:ext>
            </a:extLst>
          </p:cNvPr>
          <p:cNvSpPr txBox="1"/>
          <p:nvPr/>
        </p:nvSpPr>
        <p:spPr>
          <a:xfrm>
            <a:off x="8814572" y="3979718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1A448D3-225A-8341-A955-195C8E811F5B}"/>
              </a:ext>
            </a:extLst>
          </p:cNvPr>
          <p:cNvSpPr txBox="1"/>
          <p:nvPr/>
        </p:nvSpPr>
        <p:spPr>
          <a:xfrm>
            <a:off x="8353413" y="448741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1AECACE-1FD5-404F-80FE-613725CA62DE}"/>
              </a:ext>
            </a:extLst>
          </p:cNvPr>
          <p:cNvSpPr txBox="1"/>
          <p:nvPr/>
        </p:nvSpPr>
        <p:spPr>
          <a:xfrm>
            <a:off x="8870086" y="4941688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80D9DF9B-6099-3C45-A6D6-D2EFBC20B0AD}"/>
              </a:ext>
            </a:extLst>
          </p:cNvPr>
          <p:cNvGrpSpPr/>
          <p:nvPr/>
        </p:nvGrpSpPr>
        <p:grpSpPr>
          <a:xfrm>
            <a:off x="7650626" y="2402856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2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424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BA3F02C8-FF46-754E-AE85-EDA96E3EAB73}"/>
              </a:ext>
            </a:extLst>
          </p:cNvPr>
          <p:cNvGrpSpPr/>
          <p:nvPr/>
        </p:nvGrpSpPr>
        <p:grpSpPr>
          <a:xfrm>
            <a:off x="8213616" y="2786876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18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63E3F51E-C022-A14A-87BF-09955838BDBA}"/>
              </a:ext>
            </a:extLst>
          </p:cNvPr>
          <p:cNvGrpSpPr/>
          <p:nvPr/>
        </p:nvGrpSpPr>
        <p:grpSpPr>
          <a:xfrm>
            <a:off x="7694278" y="3269693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94 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C4E3EA42-608F-0B45-AE3A-1BE741CCB95B}"/>
              </a:ext>
            </a:extLst>
          </p:cNvPr>
          <p:cNvGrpSpPr/>
          <p:nvPr/>
        </p:nvGrpSpPr>
        <p:grpSpPr>
          <a:xfrm>
            <a:off x="8149932" y="3773893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11</a:t>
              </a: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17310CC9-49A1-924C-BB2E-366B445A736D}"/>
              </a:ext>
            </a:extLst>
          </p:cNvPr>
          <p:cNvGrpSpPr/>
          <p:nvPr/>
        </p:nvGrpSpPr>
        <p:grpSpPr>
          <a:xfrm>
            <a:off x="7655757" y="4316122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62</a:t>
              </a: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id="{E24A7DF1-E89C-5643-B09E-7C976AC8A15E}"/>
              </a:ext>
            </a:extLst>
          </p:cNvPr>
          <p:cNvGrpSpPr/>
          <p:nvPr/>
        </p:nvGrpSpPr>
        <p:grpSpPr>
          <a:xfrm>
            <a:off x="8174105" y="4764700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28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id="{B58AECD7-3C04-BA48-A139-C23D4EA36932}"/>
              </a:ext>
            </a:extLst>
          </p:cNvPr>
          <p:cNvSpPr/>
          <p:nvPr/>
        </p:nvSpPr>
        <p:spPr>
          <a:xfrm>
            <a:off x="3974332" y="1974208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id="{2BEEBB58-3CC1-0740-AEFE-25996E722948}"/>
              </a:ext>
            </a:extLst>
          </p:cNvPr>
          <p:cNvSpPr/>
          <p:nvPr/>
        </p:nvSpPr>
        <p:spPr>
          <a:xfrm rot="10800000">
            <a:off x="7676155" y="5980729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F8F8DC2F-F630-48B2-BB50-954F213F949B}"/>
              </a:ext>
            </a:extLst>
          </p:cNvPr>
          <p:cNvGrpSpPr/>
          <p:nvPr/>
        </p:nvGrpSpPr>
        <p:grpSpPr>
          <a:xfrm>
            <a:off x="7590257" y="5213896"/>
            <a:ext cx="640467" cy="648698"/>
            <a:chOff x="8118815" y="1587971"/>
            <a:chExt cx="688277" cy="688277"/>
          </a:xfrm>
        </p:grpSpPr>
        <p:grpSp>
          <p:nvGrpSpPr>
            <p:cNvPr id="85" name="Group 63">
              <a:extLst>
                <a:ext uri="{FF2B5EF4-FFF2-40B4-BE49-F238E27FC236}">
                  <a16:creationId xmlns:a16="http://schemas.microsoft.com/office/drawing/2014/main" id="{4A551585-EB29-45F9-969D-2E80ED771F9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7" name="background">
                <a:extLst>
                  <a:ext uri="{FF2B5EF4-FFF2-40B4-BE49-F238E27FC236}">
                    <a16:creationId xmlns:a16="http://schemas.microsoft.com/office/drawing/2014/main" id="{DAEA5C57-8268-467D-9095-C651A259B0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8" name="arc">
                <a:extLst>
                  <a:ext uri="{FF2B5EF4-FFF2-40B4-BE49-F238E27FC236}">
                    <a16:creationId xmlns:a16="http://schemas.microsoft.com/office/drawing/2014/main" id="{BB929777-5380-4AAA-8067-C5C9BC6CBF2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9" name="circle">
                <a:extLst>
                  <a:ext uri="{FF2B5EF4-FFF2-40B4-BE49-F238E27FC236}">
                    <a16:creationId xmlns:a16="http://schemas.microsoft.com/office/drawing/2014/main" id="{81447126-3655-4224-A8CD-F5D1522F7E5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6" name="Oval 10">
              <a:extLst>
                <a:ext uri="{FF2B5EF4-FFF2-40B4-BE49-F238E27FC236}">
                  <a16:creationId xmlns:a16="http://schemas.microsoft.com/office/drawing/2014/main" id="{7D9792FA-152C-4A8E-BEDA-1DB9F46AE9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9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4C3343E-9000-4CF9-83D8-A8B14D13F85E}"/>
              </a:ext>
            </a:extLst>
          </p:cNvPr>
          <p:cNvSpPr txBox="1"/>
          <p:nvPr/>
        </p:nvSpPr>
        <p:spPr>
          <a:xfrm>
            <a:off x="8282899" y="5428925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Крымский ФО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F56814-F76C-463E-8D68-516DACA963FD}"/>
              </a:ext>
            </a:extLst>
          </p:cNvPr>
          <p:cNvSpPr txBox="1"/>
          <p:nvPr/>
        </p:nvSpPr>
        <p:spPr>
          <a:xfrm>
            <a:off x="1997839" y="2503406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7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2B73062-6A0F-4F86-8A91-2B589F05ED9F}"/>
              </a:ext>
            </a:extLst>
          </p:cNvPr>
          <p:cNvSpPr txBox="1"/>
          <p:nvPr/>
        </p:nvSpPr>
        <p:spPr>
          <a:xfrm>
            <a:off x="8353413" y="2190219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9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48264F-7ED1-4E1F-9B66-9FC35A60B1E9}"/>
              </a:ext>
            </a:extLst>
          </p:cNvPr>
          <p:cNvSpPr txBox="1"/>
          <p:nvPr/>
        </p:nvSpPr>
        <p:spPr>
          <a:xfrm>
            <a:off x="320677" y="6279854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22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64FD5C-3D5D-43FB-8245-A25BDF860ADC}"/>
              </a:ext>
            </a:extLst>
          </p:cNvPr>
          <p:cNvSpPr txBox="1"/>
          <p:nvPr/>
        </p:nvSpPr>
        <p:spPr>
          <a:xfrm>
            <a:off x="371973" y="3781568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1CE9CD-BA42-4C25-9FAD-0A1812AA3AC6}"/>
              </a:ext>
            </a:extLst>
          </p:cNvPr>
          <p:cNvSpPr txBox="1"/>
          <p:nvPr/>
        </p:nvSpPr>
        <p:spPr>
          <a:xfrm>
            <a:off x="383771" y="5034021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961368-0A8D-4B50-8318-3B743AB9A6E1}"/>
              </a:ext>
            </a:extLst>
          </p:cNvPr>
          <p:cNvSpPr txBox="1"/>
          <p:nvPr/>
        </p:nvSpPr>
        <p:spPr>
          <a:xfrm>
            <a:off x="7792787" y="2756470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2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11D1EF-3494-4C23-9724-2B032744F92F}"/>
              </a:ext>
            </a:extLst>
          </p:cNvPr>
          <p:cNvSpPr txBox="1"/>
          <p:nvPr/>
        </p:nvSpPr>
        <p:spPr>
          <a:xfrm>
            <a:off x="8390809" y="3145227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AC1F98-EEAE-4E07-B406-96AC2341C41D}"/>
              </a:ext>
            </a:extLst>
          </p:cNvPr>
          <p:cNvSpPr txBox="1"/>
          <p:nvPr/>
        </p:nvSpPr>
        <p:spPr>
          <a:xfrm>
            <a:off x="7870882" y="3627015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6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9D9DC9-0772-44D4-BFDD-54CB068D17F9}"/>
              </a:ext>
            </a:extLst>
          </p:cNvPr>
          <p:cNvSpPr txBox="1"/>
          <p:nvPr/>
        </p:nvSpPr>
        <p:spPr>
          <a:xfrm>
            <a:off x="8309123" y="4139847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EA226C2-7064-424B-919A-E7436304910E}"/>
              </a:ext>
            </a:extLst>
          </p:cNvPr>
          <p:cNvSpPr txBox="1"/>
          <p:nvPr/>
        </p:nvSpPr>
        <p:spPr>
          <a:xfrm>
            <a:off x="7812137" y="4670112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891661A-1EA6-428D-AC1E-58F84329A436}"/>
              </a:ext>
            </a:extLst>
          </p:cNvPr>
          <p:cNvSpPr txBox="1"/>
          <p:nvPr/>
        </p:nvSpPr>
        <p:spPr>
          <a:xfrm>
            <a:off x="8311568" y="5119670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4996B0B-1DAE-4642-95CA-C70C2DD4CB8C}"/>
              </a:ext>
            </a:extLst>
          </p:cNvPr>
          <p:cNvSpPr txBox="1"/>
          <p:nvPr/>
        </p:nvSpPr>
        <p:spPr>
          <a:xfrm>
            <a:off x="7761212" y="5595264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138050-AF98-4A54-A0D7-86932F795197}"/>
              </a:ext>
            </a:extLst>
          </p:cNvPr>
          <p:cNvSpPr txBox="1"/>
          <p:nvPr/>
        </p:nvSpPr>
        <p:spPr>
          <a:xfrm>
            <a:off x="8350709" y="6359829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3</a:t>
            </a:r>
          </a:p>
        </p:txBody>
      </p:sp>
      <p:graphicFrame>
        <p:nvGraphicFramePr>
          <p:cNvPr id="26" name="Таблица 25">
            <a:extLst>
              <a:ext uri="{FF2B5EF4-FFF2-40B4-BE49-F238E27FC236}">
                <a16:creationId xmlns:a16="http://schemas.microsoft.com/office/drawing/2014/main" id="{8FAA40CA-8B84-43C6-9385-A87B3E6499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133314"/>
              </p:ext>
            </p:extLst>
          </p:nvPr>
        </p:nvGraphicFramePr>
        <p:xfrm>
          <a:off x="4433110" y="1943891"/>
          <a:ext cx="3049317" cy="2478696"/>
        </p:xfrm>
        <a:graphic>
          <a:graphicData uri="http://schemas.openxmlformats.org/drawingml/2006/table">
            <a:tbl>
              <a:tblPr/>
              <a:tblGrid>
                <a:gridCol w="2120691">
                  <a:extLst>
                    <a:ext uri="{9D8B030D-6E8A-4147-A177-3AD203B41FA5}">
                      <a16:colId xmlns:a16="http://schemas.microsoft.com/office/drawing/2014/main" val="724530873"/>
                    </a:ext>
                  </a:extLst>
                </a:gridCol>
                <a:gridCol w="928626">
                  <a:extLst>
                    <a:ext uri="{9D8B030D-6E8A-4147-A177-3AD203B41FA5}">
                      <a16:colId xmlns:a16="http://schemas.microsoft.com/office/drawing/2014/main" val="241464899"/>
                    </a:ext>
                  </a:extLst>
                </a:gridCol>
              </a:tblGrid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г. Москва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99 (+54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494659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20 (+7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3385011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69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2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9712215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г. Санкт-Петербург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46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9315379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4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2528915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40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34682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39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214030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28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966940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Челяби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8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588552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Республика Крым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4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2682451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Иркут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7277389"/>
                  </a:ext>
                </a:extLst>
              </a:tr>
              <a:tr h="206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Башкортостан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04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464220"/>
                  </a:ext>
                </a:extLst>
              </a:tr>
            </a:tbl>
          </a:graphicData>
        </a:graphic>
      </p:graphicFrame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8E7391CF-3A93-475E-9838-411688BAF9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5970667"/>
              </p:ext>
            </p:extLst>
          </p:nvPr>
        </p:nvGraphicFramePr>
        <p:xfrm>
          <a:off x="4429452" y="4536094"/>
          <a:ext cx="3048221" cy="2296734"/>
        </p:xfrm>
        <a:graphic>
          <a:graphicData uri="http://schemas.openxmlformats.org/drawingml/2006/table">
            <a:tbl>
              <a:tblPr/>
              <a:tblGrid>
                <a:gridCol w="2119929">
                  <a:extLst>
                    <a:ext uri="{9D8B030D-6E8A-4147-A177-3AD203B41FA5}">
                      <a16:colId xmlns:a16="http://schemas.microsoft.com/office/drawing/2014/main" val="3174415961"/>
                    </a:ext>
                  </a:extLst>
                </a:gridCol>
                <a:gridCol w="928292">
                  <a:extLst>
                    <a:ext uri="{9D8B030D-6E8A-4147-A177-3AD203B41FA5}">
                      <a16:colId xmlns:a16="http://schemas.microsoft.com/office/drawing/2014/main" val="3268261177"/>
                    </a:ext>
                  </a:extLst>
                </a:gridCol>
              </a:tblGrid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Магад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912345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абардино-Балкарска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2987752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9783495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Республика Дагестан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7684013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Еврейская автономн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5345646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Республика Алтай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309424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Иркутская область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9913953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Чеченска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960387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алмык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23837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Республика Тыв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1410118"/>
                  </a:ext>
                </a:extLst>
              </a:tr>
              <a:tr h="20879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Ненецкий автономный округ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5143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97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Слайд think-cell" r:id="rId14" imgW="624" imgH="635" progId="TCLayout.ActiveDocument.1">
                  <p:embed/>
                </p:oleObj>
              </mc:Choice>
              <mc:Fallback>
                <p:oleObj name="Слайд think-cell" r:id="rId14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050" y="134653"/>
            <a:ext cx="11931825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dirty="0"/>
              <a:t>Регистрация участников оборота в ГИС МТ</a:t>
            </a:r>
            <a:br>
              <a:rPr lang="ru-RU" sz="3200" dirty="0"/>
            </a:br>
            <a:r>
              <a:rPr lang="ru-RU" sz="3200" dirty="0"/>
              <a:t> ТГ </a:t>
            </a:r>
            <a:r>
              <a:rPr lang="ru-RU" sz="3200" dirty="0" smtClean="0"/>
              <a:t>Фототовары. </a:t>
            </a:r>
            <a:r>
              <a:rPr lang="ru-RU" sz="3200" dirty="0"/>
              <a:t>24.08.2020 (динамика с 11 по 24 августа)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124051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91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124695" y="4334684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2</a:t>
            </a: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id="{138AE723-297E-6946-B355-268ED4947AF2}"/>
              </a:ext>
            </a:extLst>
          </p:cNvPr>
          <p:cNvSpPr/>
          <p:nvPr/>
        </p:nvSpPr>
        <p:spPr>
          <a:xfrm>
            <a:off x="1255271" y="3466022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124695" y="3157669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43</a:t>
            </a:r>
            <a:endParaRPr lang="ru-RU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618</a:t>
            </a:r>
            <a:endParaRPr lang="ru-RU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id="{5B3ECD85-31A4-644B-B0E3-06BD9D66B5EA}"/>
              </a:ext>
            </a:extLst>
          </p:cNvPr>
          <p:cNvSpPr/>
          <p:nvPr/>
        </p:nvSpPr>
        <p:spPr>
          <a:xfrm>
            <a:off x="-21902" y="1310699"/>
            <a:ext cx="405784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Фототовары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63C179A3-BFFA-6944-9927-1E189757F8DE}"/>
              </a:ext>
            </a:extLst>
          </p:cNvPr>
          <p:cNvGrpSpPr/>
          <p:nvPr/>
        </p:nvGrpSpPr>
        <p:grpSpPr>
          <a:xfrm>
            <a:off x="8059324" y="5793208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6B314B2-CDE5-4141-B815-5452F4C429E2}"/>
              </a:ext>
            </a:extLst>
          </p:cNvPr>
          <p:cNvSpPr txBox="1"/>
          <p:nvPr/>
        </p:nvSpPr>
        <p:spPr>
          <a:xfrm>
            <a:off x="8983346" y="6045463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Крымский ФО</a:t>
            </a:r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id="{BDEA2DEC-CBD8-C84D-A430-684A02471478}"/>
              </a:ext>
            </a:extLst>
          </p:cNvPr>
          <p:cNvSpPr/>
          <p:nvPr/>
        </p:nvSpPr>
        <p:spPr>
          <a:xfrm>
            <a:off x="7655072" y="1908484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id="{592B0DE4-559D-6042-A7A1-72FA39EF9B7F}"/>
              </a:ext>
            </a:extLst>
          </p:cNvPr>
          <p:cNvSpPr/>
          <p:nvPr/>
        </p:nvSpPr>
        <p:spPr>
          <a:xfrm rot="10800000">
            <a:off x="3966530" y="4501726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субъектов РФ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4B061B5-C2E4-504D-A271-6815F368FDB0}"/>
              </a:ext>
            </a:extLst>
          </p:cNvPr>
          <p:cNvSpPr txBox="1"/>
          <p:nvPr/>
        </p:nvSpPr>
        <p:spPr>
          <a:xfrm>
            <a:off x="8916551" y="3069273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A851076-0A8E-9E4F-8ACC-03F3D10FE9D8}"/>
              </a:ext>
            </a:extLst>
          </p:cNvPr>
          <p:cNvSpPr txBox="1"/>
          <p:nvPr/>
        </p:nvSpPr>
        <p:spPr>
          <a:xfrm>
            <a:off x="8768977" y="395177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1A448D3-225A-8341-A955-195C8E811F5B}"/>
              </a:ext>
            </a:extLst>
          </p:cNvPr>
          <p:cNvSpPr txBox="1"/>
          <p:nvPr/>
        </p:nvSpPr>
        <p:spPr>
          <a:xfrm>
            <a:off x="8350303" y="444606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80D9DF9B-6099-3C45-A6D6-D2EFBC20B0AD}"/>
              </a:ext>
            </a:extLst>
          </p:cNvPr>
          <p:cNvGrpSpPr/>
          <p:nvPr/>
        </p:nvGrpSpPr>
        <p:grpSpPr>
          <a:xfrm>
            <a:off x="7650626" y="2453190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6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69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BA3F02C8-FF46-754E-AE85-EDA96E3EAB73}"/>
              </a:ext>
            </a:extLst>
          </p:cNvPr>
          <p:cNvGrpSpPr/>
          <p:nvPr/>
        </p:nvGrpSpPr>
        <p:grpSpPr>
          <a:xfrm>
            <a:off x="8188449" y="2853988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63E3F51E-C022-A14A-87BF-09955838BDBA}"/>
              </a:ext>
            </a:extLst>
          </p:cNvPr>
          <p:cNvGrpSpPr/>
          <p:nvPr/>
        </p:nvGrpSpPr>
        <p:grpSpPr>
          <a:xfrm>
            <a:off x="7694278" y="3320027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8</a:t>
              </a: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id="{C4E3EA42-608F-0B45-AE3A-1BE741CCB95B}"/>
              </a:ext>
            </a:extLst>
          </p:cNvPr>
          <p:cNvGrpSpPr/>
          <p:nvPr/>
        </p:nvGrpSpPr>
        <p:grpSpPr>
          <a:xfrm>
            <a:off x="8141543" y="3807449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17310CC9-49A1-924C-BB2E-366B445A736D}"/>
              </a:ext>
            </a:extLst>
          </p:cNvPr>
          <p:cNvGrpSpPr/>
          <p:nvPr/>
        </p:nvGrpSpPr>
        <p:grpSpPr>
          <a:xfrm>
            <a:off x="7655757" y="4274177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4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id="{E24A7DF1-E89C-5643-B09E-7C976AC8A15E}"/>
              </a:ext>
            </a:extLst>
          </p:cNvPr>
          <p:cNvGrpSpPr/>
          <p:nvPr/>
        </p:nvGrpSpPr>
        <p:grpSpPr>
          <a:xfrm>
            <a:off x="8187606" y="4713954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7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id="{B58AECD7-3C04-BA48-A139-C23D4EA36932}"/>
              </a:ext>
            </a:extLst>
          </p:cNvPr>
          <p:cNvSpPr/>
          <p:nvPr/>
        </p:nvSpPr>
        <p:spPr>
          <a:xfrm>
            <a:off x="3973905" y="2127178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id="{2BEEBB58-3CC1-0740-AEFE-25996E722948}"/>
              </a:ext>
            </a:extLst>
          </p:cNvPr>
          <p:cNvSpPr/>
          <p:nvPr/>
        </p:nvSpPr>
        <p:spPr>
          <a:xfrm rot="10800000">
            <a:off x="7676155" y="593674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8A0856A5-1BD3-43A0-9941-0FB7E2F99BC7}"/>
              </a:ext>
            </a:extLst>
          </p:cNvPr>
          <p:cNvGrpSpPr/>
          <p:nvPr/>
        </p:nvGrpSpPr>
        <p:grpSpPr>
          <a:xfrm>
            <a:off x="7658376" y="5167786"/>
            <a:ext cx="640467" cy="648698"/>
            <a:chOff x="8118815" y="1587971"/>
            <a:chExt cx="688277" cy="688277"/>
          </a:xfrm>
        </p:grpSpPr>
        <p:grpSp>
          <p:nvGrpSpPr>
            <p:cNvPr id="83" name="Group 63">
              <a:extLst>
                <a:ext uri="{FF2B5EF4-FFF2-40B4-BE49-F238E27FC236}">
                  <a16:creationId xmlns:a16="http://schemas.microsoft.com/office/drawing/2014/main" id="{D8BE671D-4D79-49B8-94FD-3F3FB588BC31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5" name="background">
                <a:extLst>
                  <a:ext uri="{FF2B5EF4-FFF2-40B4-BE49-F238E27FC236}">
                    <a16:creationId xmlns:a16="http://schemas.microsoft.com/office/drawing/2014/main" id="{6A0453AA-6B71-425C-A63E-E7B3E3DAF75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6" name="arc">
                <a:extLst>
                  <a:ext uri="{FF2B5EF4-FFF2-40B4-BE49-F238E27FC236}">
                    <a16:creationId xmlns:a16="http://schemas.microsoft.com/office/drawing/2014/main" id="{F25E6114-6060-4818-89DE-B90484930BA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:a16="http://schemas.microsoft.com/office/drawing/2014/main" id="{8D120B87-156E-40C6-8CA6-479FEBFE492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4" name="Oval 10">
              <a:extLst>
                <a:ext uri="{FF2B5EF4-FFF2-40B4-BE49-F238E27FC236}">
                  <a16:creationId xmlns:a16="http://schemas.microsoft.com/office/drawing/2014/main" id="{E07FCF51-77D7-43F8-BC33-F63FB68852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1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66EBCB9-815F-48A4-ACC5-26FD397CB627}"/>
              </a:ext>
            </a:extLst>
          </p:cNvPr>
          <p:cNvSpPr txBox="1"/>
          <p:nvPr/>
        </p:nvSpPr>
        <p:spPr>
          <a:xfrm>
            <a:off x="8481404" y="5367352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Кавказский Ф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259D8B-D2EB-4E48-B135-9DB03A12ACEB}"/>
              </a:ext>
            </a:extLst>
          </p:cNvPr>
          <p:cNvSpPr txBox="1"/>
          <p:nvPr/>
        </p:nvSpPr>
        <p:spPr>
          <a:xfrm>
            <a:off x="8420095" y="347869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37E915-30A3-4F22-A913-9E7A9AAF480A}"/>
              </a:ext>
            </a:extLst>
          </p:cNvPr>
          <p:cNvSpPr txBox="1"/>
          <p:nvPr/>
        </p:nvSpPr>
        <p:spPr>
          <a:xfrm>
            <a:off x="8921377" y="4842406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471572-77D9-49E3-B99D-1FC98C9A5FE4}"/>
              </a:ext>
            </a:extLst>
          </p:cNvPr>
          <p:cNvSpPr txBox="1"/>
          <p:nvPr/>
        </p:nvSpPr>
        <p:spPr>
          <a:xfrm>
            <a:off x="1997839" y="2503406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</a:t>
            </a:r>
            <a:r>
              <a:rPr lang="en-US" sz="800" dirty="0"/>
              <a:t>37</a:t>
            </a:r>
            <a:endParaRPr lang="ru-RU" sz="8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FB8341-CBB5-466F-911E-CF7A743F734E}"/>
              </a:ext>
            </a:extLst>
          </p:cNvPr>
          <p:cNvSpPr txBox="1"/>
          <p:nvPr/>
        </p:nvSpPr>
        <p:spPr>
          <a:xfrm>
            <a:off x="411332" y="3707682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</a:t>
            </a:r>
            <a:r>
              <a:rPr lang="en-US" sz="800" dirty="0"/>
              <a:t>10</a:t>
            </a:r>
            <a:endParaRPr lang="ru-RU" sz="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4D891D-7650-41A2-AD6C-BBAA7E458B04}"/>
              </a:ext>
            </a:extLst>
          </p:cNvPr>
          <p:cNvSpPr txBox="1"/>
          <p:nvPr/>
        </p:nvSpPr>
        <p:spPr>
          <a:xfrm>
            <a:off x="430846" y="4893684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25A056C-C53D-453B-A898-361ABB1CC628}"/>
              </a:ext>
            </a:extLst>
          </p:cNvPr>
          <p:cNvSpPr txBox="1"/>
          <p:nvPr/>
        </p:nvSpPr>
        <p:spPr>
          <a:xfrm>
            <a:off x="385684" y="6340655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5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1A707C-C376-48FB-B591-73DF0ED1350B}"/>
              </a:ext>
            </a:extLst>
          </p:cNvPr>
          <p:cNvSpPr txBox="1"/>
          <p:nvPr/>
        </p:nvSpPr>
        <p:spPr>
          <a:xfrm>
            <a:off x="8391716" y="2178240"/>
            <a:ext cx="3385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2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03EC48-7FB6-44B5-9B82-6B5C7B924025}"/>
              </a:ext>
            </a:extLst>
          </p:cNvPr>
          <p:cNvSpPr txBox="1"/>
          <p:nvPr/>
        </p:nvSpPr>
        <p:spPr>
          <a:xfrm>
            <a:off x="8345655" y="3194487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06884B5-C6BB-4F15-BBA0-B4520D55DB6C}"/>
              </a:ext>
            </a:extLst>
          </p:cNvPr>
          <p:cNvSpPr txBox="1"/>
          <p:nvPr/>
        </p:nvSpPr>
        <p:spPr>
          <a:xfrm>
            <a:off x="7838648" y="3669926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657074F-B7CE-435C-9709-3144C9A87344}"/>
              </a:ext>
            </a:extLst>
          </p:cNvPr>
          <p:cNvSpPr txBox="1"/>
          <p:nvPr/>
        </p:nvSpPr>
        <p:spPr>
          <a:xfrm>
            <a:off x="8315386" y="4156594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0499489-386C-4F8B-A24B-5E61A69A6B75}"/>
              </a:ext>
            </a:extLst>
          </p:cNvPr>
          <p:cNvSpPr txBox="1"/>
          <p:nvPr/>
        </p:nvSpPr>
        <p:spPr>
          <a:xfrm>
            <a:off x="7821870" y="4646117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2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0DD7EA-A9D9-4C2B-95B2-870246DA6C81}"/>
              </a:ext>
            </a:extLst>
          </p:cNvPr>
          <p:cNvSpPr txBox="1"/>
          <p:nvPr/>
        </p:nvSpPr>
        <p:spPr>
          <a:xfrm>
            <a:off x="8358297" y="5064205"/>
            <a:ext cx="2872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+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4D3C0AC-FE5F-4F26-9782-0EAB948EEDC4}"/>
              </a:ext>
            </a:extLst>
          </p:cNvPr>
          <p:cNvSpPr txBox="1"/>
          <p:nvPr/>
        </p:nvSpPr>
        <p:spPr>
          <a:xfrm>
            <a:off x="7821869" y="5535958"/>
            <a:ext cx="3196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+0</a:t>
            </a:r>
            <a:endParaRPr lang="ru-RU" sz="8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F856D1C-E24E-4C29-8894-47E964C45D23}"/>
              </a:ext>
            </a:extLst>
          </p:cNvPr>
          <p:cNvSpPr txBox="1"/>
          <p:nvPr/>
        </p:nvSpPr>
        <p:spPr>
          <a:xfrm>
            <a:off x="8345655" y="6264411"/>
            <a:ext cx="32195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+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ADCE59-3B75-4C53-A149-C94B6FFCB03C}"/>
              </a:ext>
            </a:extLst>
          </p:cNvPr>
          <p:cNvSpPr txBox="1"/>
          <p:nvPr/>
        </p:nvSpPr>
        <p:spPr>
          <a:xfrm>
            <a:off x="7812562" y="2794073"/>
            <a:ext cx="32195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+1</a:t>
            </a:r>
          </a:p>
        </p:txBody>
      </p:sp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C091189A-19F7-4483-8DCC-93FAF5556B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202836"/>
              </p:ext>
            </p:extLst>
          </p:nvPr>
        </p:nvGraphicFramePr>
        <p:xfrm>
          <a:off x="4394935" y="2100313"/>
          <a:ext cx="3063945" cy="2303145"/>
        </p:xfrm>
        <a:graphic>
          <a:graphicData uri="http://schemas.openxmlformats.org/drawingml/2006/table">
            <a:tbl>
              <a:tblPr/>
              <a:tblGrid>
                <a:gridCol w="2130864">
                  <a:extLst>
                    <a:ext uri="{9D8B030D-6E8A-4147-A177-3AD203B41FA5}">
                      <a16:colId xmlns:a16="http://schemas.microsoft.com/office/drawing/2014/main" val="3374591103"/>
                    </a:ext>
                  </a:extLst>
                </a:gridCol>
                <a:gridCol w="933081">
                  <a:extLst>
                    <a:ext uri="{9D8B030D-6E8A-4147-A177-3AD203B41FA5}">
                      <a16:colId xmlns:a16="http://schemas.microsoft.com/office/drawing/2014/main" val="680728754"/>
                    </a:ext>
                  </a:extLst>
                </a:gridCol>
              </a:tblGrid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г. Москва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97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6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2039859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г. Санкт-Петербург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42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1475982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8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6202337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6753432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62043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линингра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2453703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1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8985280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Нижегоро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r>
                        <a:rPr lang="en-US" sz="1100" b="0" i="0" u="none" strike="noStrike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(+1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4290432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5411939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Челяби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</a:t>
                      </a:r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1180014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933217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Республика Башкортостан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 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2514609"/>
                  </a:ext>
                </a:extLst>
              </a:tr>
              <a:tr h="146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Новосиб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0253414"/>
                  </a:ext>
                </a:extLst>
              </a:tr>
            </a:tbl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BACC99B6-99A4-4B72-92F0-BE99A88FC7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940464"/>
              </p:ext>
            </p:extLst>
          </p:nvPr>
        </p:nvGraphicFramePr>
        <p:xfrm>
          <a:off x="4378157" y="4453971"/>
          <a:ext cx="3077786" cy="2293620"/>
        </p:xfrm>
        <a:graphic>
          <a:graphicData uri="http://schemas.openxmlformats.org/drawingml/2006/table">
            <a:tbl>
              <a:tblPr/>
              <a:tblGrid>
                <a:gridCol w="2140490">
                  <a:extLst>
                    <a:ext uri="{9D8B030D-6E8A-4147-A177-3AD203B41FA5}">
                      <a16:colId xmlns:a16="http://schemas.microsoft.com/office/drawing/2014/main" val="440126922"/>
                    </a:ext>
                  </a:extLst>
                </a:gridCol>
                <a:gridCol w="937296">
                  <a:extLst>
                    <a:ext uri="{9D8B030D-6E8A-4147-A177-3AD203B41FA5}">
                      <a16:colId xmlns:a16="http://schemas.microsoft.com/office/drawing/2014/main" val="2902028438"/>
                    </a:ext>
                  </a:extLst>
                </a:gridCol>
              </a:tblGrid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остр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1201560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Республика</a:t>
                      </a:r>
                      <a:r>
                        <a:rPr lang="ru-RU" sz="1100" b="0" i="0" u="none" strike="noStrike" baseline="0" dirty="0" smtClean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Марий Эл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1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4811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Архангель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504760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ург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276575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яз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076504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Республика Мордовия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680475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арачаево-Черкесская </a:t>
                      </a:r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Республика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6821769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Т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3852190"/>
                  </a:ext>
                </a:extLst>
              </a:tr>
              <a:tr h="32255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Ямало-Ненецкий автономный округ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1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8709794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1812686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агад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1566294"/>
                  </a:ext>
                </a:extLst>
              </a:tr>
              <a:tr h="16573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Владим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 (+0)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77642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139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LANGUAGE_ID" val="1033"/>
  <p:tag name="EE4P_STYLE_NAME" val="CRPT_yellow_grey Grid 16:9"/>
  <p:tag name="EE4P_MASTERWIZARD_DRAFT" val="0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PT Sans Caption&quot; bold=&quot;0&quot; italic=&quot;0&quot; color=&quot;#595959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#595959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595959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PT Sans Caption&quot; size=&quot;54&quot; bold=&quot;0&quot; italic=&quot;0&quot; underlineStyle=&quot;0&quot; color=&quot;#595959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PT Sans Caption&quot; size=&quot;10&quot; bold=&quot;0&quot; italic=&quot;0&quot; underlineStyle=&quot;0&quot; color=&quot;#595959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PT Sans Caption&quot; size=&quot;54&quot; bold=&quot;0&quot; italic=&quot;0&quot; underlineStyle=&quot;0&quot; color=&quot;#595959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STYLE_ID" val="aeyVORY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85vsTaLceIIhfVpPX4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YnobaoBDhRRAJu4JBAJ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.zobh.E.0.K_S8DqWZ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aEtsKoEnBezKF04wP5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vaCK9..sUq9hzbmmSuW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wZ4ui7abaOWkx_Rmnp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Q2aVLUXTNWIn.lLDrBn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oy1bk_W348MxG93y3wA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qFxloxOw7oUycSz.ZlX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.e3HEJ9xZmQ7oniMwgb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zKS9bEpymdfsegsksee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12fhH9ObW78KqCuFbsc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PK30w5IV5RMAeZYqY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lfPOLv5KJqcu7mZB6CQ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E386A865D08004896F092A736948BD9" ma:contentTypeVersion="7" ma:contentTypeDescription="Создание документа." ma:contentTypeScope="" ma:versionID="ae06dcfde6adfc6004167f0818612789">
  <xsd:schema xmlns:xsd="http://www.w3.org/2001/XMLSchema" xmlns:xs="http://www.w3.org/2001/XMLSchema" xmlns:p="http://schemas.microsoft.com/office/2006/metadata/properties" xmlns:ns3="a6a151ab-cf0d-421e-ae2b-5787da2ee45b" targetNamespace="http://schemas.microsoft.com/office/2006/metadata/properties" ma:root="true" ma:fieldsID="2f65ef380e9603e1ff5b4830613565a9" ns3:_="">
    <xsd:import namespace="a6a151ab-cf0d-421e-ae2b-5787da2ee45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a151ab-cf0d-421e-ae2b-5787da2ee4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B15BBF-B3D7-438C-BCD8-BACBF757CCDB}">
  <ds:schemaRefs>
    <ds:schemaRef ds:uri="http://www.w3.org/XML/1998/namespace"/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6a151ab-cf0d-421e-ae2b-5787da2ee45b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E3C2988-AE88-43CA-A5E8-EC9D3D5D35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a151ab-cf0d-421e-ae2b-5787da2ee4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DF1BDF-11AC-41B0-AB23-ECA19187BC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45</TotalTime>
  <Words>1386</Words>
  <Application>Microsoft Office PowerPoint</Application>
  <PresentationFormat>Широкоэкранный</PresentationFormat>
  <Paragraphs>480</Paragraphs>
  <Slides>6</Slides>
  <Notes>1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</vt:i4>
      </vt:variant>
      <vt:variant>
        <vt:lpstr>Произвольные показы</vt:lpstr>
      </vt:variant>
      <vt:variant>
        <vt:i4>1</vt:i4>
      </vt:variant>
    </vt:vector>
  </HeadingPairs>
  <TitlesOfParts>
    <vt:vector size="15" baseType="lpstr">
      <vt:lpstr>Arial</vt:lpstr>
      <vt:lpstr>Calibri</vt:lpstr>
      <vt:lpstr>PT Sans</vt:lpstr>
      <vt:lpstr>PT Sans Caption</vt:lpstr>
      <vt:lpstr>Trebuchet MS</vt:lpstr>
      <vt:lpstr>3_BCG Grid 16:9</vt:lpstr>
      <vt:lpstr>think-cell Slide</vt:lpstr>
      <vt:lpstr>Слайд think-cell</vt:lpstr>
      <vt:lpstr>Логистика и отпуск: доля действующих зарегистрированных организаций по виду деятельности (по состоянию на 24.08.2020)</vt:lpstr>
      <vt:lpstr>Подключение субъектов обращения в разрезе регионов (по состоянию на 24.08.2020)</vt:lpstr>
      <vt:lpstr>Регистрация участников оборота в ГИС МТ  ТГ Табак. 24.08.2020 (динамика с 11 по 24 августа)</vt:lpstr>
      <vt:lpstr>Регистрация участников оборота в ГИС МТ  ТГ Обувь. 24.08.2020 (динамика с 11 по 24 августа)</vt:lpstr>
      <vt:lpstr>Регистрация участников оборота в ГИС МТ  ТГ Парфюмерия. 24.08.2020 (динамика с 11 по 24 августа)</vt:lpstr>
      <vt:lpstr>Регистрация участников оборота в ГИС МТ  ТГ Фототовары. 24.08.2020 (динамика с 11 по 24 августа)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Дерунов Вадим Алексеевич</cp:lastModifiedBy>
  <cp:revision>1010</cp:revision>
  <cp:lastPrinted>2020-08-28T09:33:20Z</cp:lastPrinted>
  <dcterms:created xsi:type="dcterms:W3CDTF">2018-10-08T08:29:20Z</dcterms:created>
  <dcterms:modified xsi:type="dcterms:W3CDTF">2020-08-28T11:4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954917</vt:lpwstr>
  </property>
  <property fmtid="{D5CDD505-2E9C-101B-9397-08002B2CF9AE}" pid="4" name="NXPowerLiteSettings">
    <vt:lpwstr>89000400038000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_NewReviewCycle">
    <vt:lpwstr/>
  </property>
  <property fmtid="{D5CDD505-2E9C-101B-9397-08002B2CF9AE}" pid="8" name="ContentTypeId">
    <vt:lpwstr>0x010100CE386A865D08004896F092A736948BD9</vt:lpwstr>
  </property>
</Properties>
</file>